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0.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1.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2.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4"/>
    <p:sldMasterId id="2147484033" r:id="rId5"/>
    <p:sldMasterId id="2147483766" r:id="rId6"/>
    <p:sldMasterId id="2147483772" r:id="rId7"/>
    <p:sldMasterId id="2147483775" r:id="rId8"/>
    <p:sldMasterId id="2147483782" r:id="rId9"/>
    <p:sldMasterId id="2147483790" r:id="rId10"/>
    <p:sldMasterId id="2147483789" r:id="rId11"/>
    <p:sldMasterId id="2147483798" r:id="rId12"/>
    <p:sldMasterId id="2147483797" r:id="rId13"/>
    <p:sldMasterId id="2147484031" r:id="rId14"/>
    <p:sldMasterId id="2147484036" r:id="rId15"/>
    <p:sldMasterId id="2147483777" r:id="rId16"/>
  </p:sldMasterIdLst>
  <p:notesMasterIdLst>
    <p:notesMasterId r:id="rId45"/>
  </p:notesMasterIdLst>
  <p:sldIdLst>
    <p:sldId id="258" r:id="rId17"/>
    <p:sldId id="285" r:id="rId18"/>
    <p:sldId id="289" r:id="rId19"/>
    <p:sldId id="292" r:id="rId20"/>
    <p:sldId id="296" r:id="rId21"/>
    <p:sldId id="293" r:id="rId22"/>
    <p:sldId id="294" r:id="rId23"/>
    <p:sldId id="295" r:id="rId24"/>
    <p:sldId id="290" r:id="rId25"/>
    <p:sldId id="291" r:id="rId26"/>
    <p:sldId id="298" r:id="rId27"/>
    <p:sldId id="297" r:id="rId28"/>
    <p:sldId id="301" r:id="rId29"/>
    <p:sldId id="299" r:id="rId30"/>
    <p:sldId id="302" r:id="rId31"/>
    <p:sldId id="303" r:id="rId32"/>
    <p:sldId id="304" r:id="rId33"/>
    <p:sldId id="307" r:id="rId34"/>
    <p:sldId id="309" r:id="rId35"/>
    <p:sldId id="316" r:id="rId36"/>
    <p:sldId id="317" r:id="rId37"/>
    <p:sldId id="318" r:id="rId38"/>
    <p:sldId id="319" r:id="rId39"/>
    <p:sldId id="320" r:id="rId40"/>
    <p:sldId id="310" r:id="rId41"/>
    <p:sldId id="313" r:id="rId42"/>
    <p:sldId id="311" r:id="rId43"/>
    <p:sldId id="300" r:id="rId44"/>
  </p:sldIdLst>
  <p:sldSz cx="12192000" cy="6858000"/>
  <p:notesSz cx="6858000" cy="9144000"/>
  <p:custDataLst>
    <p:tags r:id="rId46"/>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FF744-F591-FD0D-7854-3F4FDB8467AF}" name="Hans Gelissen (DHL SSC Maastricht)" initials="HG(SM" userId="S::hans.gelissen@dhl.com::1afa8510-4eed-4b73-a29e-678838cd8ac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EEF"/>
    <a:srgbClr val="FFC000"/>
    <a:srgbClr val="BF3B4B"/>
    <a:srgbClr val="DB8993"/>
    <a:srgbClr val="D2EEFC"/>
    <a:srgbClr val="7395D3"/>
    <a:srgbClr val="0033CC"/>
    <a:srgbClr val="5982CB"/>
    <a:srgbClr val="8A0000"/>
    <a:srgbClr val="95C6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611872-AC83-4F44-B89C-11D46A80D424}" v="1" dt="2023-07-14T16:52:59.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tags" Target="tags/tag1.xml"/><Relationship Id="rId20" Type="http://schemas.openxmlformats.org/officeDocument/2006/relationships/slide" Target="slides/slide4.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s Gelissen (DHL SSC Maastricht)" userId="1afa8510-4eed-4b73-a29e-678838cd8acd" providerId="ADAL" clId="{B19B2550-6638-4B2A-9975-FD42BA1D712A}"/>
    <pc:docChg chg="custSel modMainMaster">
      <pc:chgData name="Hans Gelissen (DHL SSC Maastricht)" userId="1afa8510-4eed-4b73-a29e-678838cd8acd" providerId="ADAL" clId="{B19B2550-6638-4B2A-9975-FD42BA1D712A}" dt="2023-07-06T12:06:37.725" v="177"/>
      <pc:docMkLst>
        <pc:docMk/>
      </pc:docMkLst>
      <pc:sldMasterChg chg="addSp modSp modSldLayout">
        <pc:chgData name="Hans Gelissen (DHL SSC Maastricht)" userId="1afa8510-4eed-4b73-a29e-678838cd8acd" providerId="ADAL" clId="{B19B2550-6638-4B2A-9975-FD42BA1D712A}" dt="2023-07-06T12:04:23.901" v="37"/>
        <pc:sldMasterMkLst>
          <pc:docMk/>
          <pc:sldMasterMk cId="606287967" sldId="2147483766"/>
        </pc:sldMasterMkLst>
        <pc:spChg chg="add mod">
          <ac:chgData name="Hans Gelissen (DHL SSC Maastricht)" userId="1afa8510-4eed-4b73-a29e-678838cd8acd" providerId="ADAL" clId="{B19B2550-6638-4B2A-9975-FD42BA1D712A}" dt="2023-07-06T12:02:53.207" v="5"/>
          <ac:spMkLst>
            <pc:docMk/>
            <pc:sldMasterMk cId="606287967" sldId="2147483766"/>
            <ac:spMk id="2" creationId="{12A67AF5-3A24-EB2F-B981-10000E73CBAE}"/>
          </ac:spMkLst>
        </pc:spChg>
        <pc:sldLayoutChg chg="addSp modSp">
          <pc:chgData name="Hans Gelissen (DHL SSC Maastricht)" userId="1afa8510-4eed-4b73-a29e-678838cd8acd" providerId="ADAL" clId="{B19B2550-6638-4B2A-9975-FD42BA1D712A}" dt="2023-07-06T12:04:07.604" v="19"/>
          <pc:sldLayoutMkLst>
            <pc:docMk/>
            <pc:sldMasterMk cId="606287967" sldId="2147483766"/>
            <pc:sldLayoutMk cId="1258372527" sldId="2147483742"/>
          </pc:sldLayoutMkLst>
          <pc:spChg chg="add mod">
            <ac:chgData name="Hans Gelissen (DHL SSC Maastricht)" userId="1afa8510-4eed-4b73-a29e-678838cd8acd" providerId="ADAL" clId="{B19B2550-6638-4B2A-9975-FD42BA1D712A}" dt="2023-07-06T12:04:07.604" v="19"/>
            <ac:spMkLst>
              <pc:docMk/>
              <pc:sldMasterMk cId="606287967" sldId="2147483766"/>
              <pc:sldLayoutMk cId="1258372527" sldId="2147483742"/>
              <ac:spMk id="2" creationId="{62A05C37-1393-EFB2-2DE8-8907EA8A8F07}"/>
            </ac:spMkLst>
          </pc:spChg>
        </pc:sldLayoutChg>
        <pc:sldLayoutChg chg="addSp modSp">
          <pc:chgData name="Hans Gelissen (DHL SSC Maastricht)" userId="1afa8510-4eed-4b73-a29e-678838cd8acd" providerId="ADAL" clId="{B19B2550-6638-4B2A-9975-FD42BA1D712A}" dt="2023-07-06T12:04:23.901" v="37"/>
          <pc:sldLayoutMkLst>
            <pc:docMk/>
            <pc:sldMasterMk cId="606287967" sldId="2147483766"/>
            <pc:sldLayoutMk cId="757623512" sldId="2147483769"/>
          </pc:sldLayoutMkLst>
          <pc:spChg chg="add mod">
            <ac:chgData name="Hans Gelissen (DHL SSC Maastricht)" userId="1afa8510-4eed-4b73-a29e-678838cd8acd" providerId="ADAL" clId="{B19B2550-6638-4B2A-9975-FD42BA1D712A}" dt="2023-07-06T12:04:23.901" v="37"/>
            <ac:spMkLst>
              <pc:docMk/>
              <pc:sldMasterMk cId="606287967" sldId="2147483766"/>
              <pc:sldLayoutMk cId="757623512" sldId="2147483769"/>
              <ac:spMk id="2" creationId="{75A469A9-677E-5467-5BE0-C68A78E0C518}"/>
            </ac:spMkLst>
          </pc:spChg>
        </pc:sldLayoutChg>
        <pc:sldLayoutChg chg="addSp modSp">
          <pc:chgData name="Hans Gelissen (DHL SSC Maastricht)" userId="1afa8510-4eed-4b73-a29e-678838cd8acd" providerId="ADAL" clId="{B19B2550-6638-4B2A-9975-FD42BA1D712A}" dt="2023-07-06T12:04:09.534" v="20"/>
          <pc:sldLayoutMkLst>
            <pc:docMk/>
            <pc:sldMasterMk cId="606287967" sldId="2147483766"/>
            <pc:sldLayoutMk cId="3810185948" sldId="2147483814"/>
          </pc:sldLayoutMkLst>
          <pc:spChg chg="add mod">
            <ac:chgData name="Hans Gelissen (DHL SSC Maastricht)" userId="1afa8510-4eed-4b73-a29e-678838cd8acd" providerId="ADAL" clId="{B19B2550-6638-4B2A-9975-FD42BA1D712A}" dt="2023-07-06T12:04:09.534" v="20"/>
            <ac:spMkLst>
              <pc:docMk/>
              <pc:sldMasterMk cId="606287967" sldId="2147483766"/>
              <pc:sldLayoutMk cId="3810185948" sldId="2147483814"/>
              <ac:spMk id="2" creationId="{763B3AC8-572F-DD8E-4989-E004E9C9AF13}"/>
            </ac:spMkLst>
          </pc:spChg>
        </pc:sldLayoutChg>
        <pc:sldLayoutChg chg="addSp modSp">
          <pc:chgData name="Hans Gelissen (DHL SSC Maastricht)" userId="1afa8510-4eed-4b73-a29e-678838cd8acd" providerId="ADAL" clId="{B19B2550-6638-4B2A-9975-FD42BA1D712A}" dt="2023-07-06T12:04:11.356" v="21"/>
          <pc:sldLayoutMkLst>
            <pc:docMk/>
            <pc:sldMasterMk cId="606287967" sldId="2147483766"/>
            <pc:sldLayoutMk cId="3218068742" sldId="2147483815"/>
          </pc:sldLayoutMkLst>
          <pc:spChg chg="add mod">
            <ac:chgData name="Hans Gelissen (DHL SSC Maastricht)" userId="1afa8510-4eed-4b73-a29e-678838cd8acd" providerId="ADAL" clId="{B19B2550-6638-4B2A-9975-FD42BA1D712A}" dt="2023-07-06T12:04:11.356" v="21"/>
            <ac:spMkLst>
              <pc:docMk/>
              <pc:sldMasterMk cId="606287967" sldId="2147483766"/>
              <pc:sldLayoutMk cId="3218068742" sldId="2147483815"/>
              <ac:spMk id="2" creationId="{FC7C85A9-6611-8C2E-0353-D4096A739C07}"/>
            </ac:spMkLst>
          </pc:spChg>
        </pc:sldLayoutChg>
        <pc:sldLayoutChg chg="addSp modSp">
          <pc:chgData name="Hans Gelissen (DHL SSC Maastricht)" userId="1afa8510-4eed-4b73-a29e-678838cd8acd" providerId="ADAL" clId="{B19B2550-6638-4B2A-9975-FD42BA1D712A}" dt="2023-07-06T12:04:12.596" v="23"/>
          <pc:sldLayoutMkLst>
            <pc:docMk/>
            <pc:sldMasterMk cId="606287967" sldId="2147483766"/>
            <pc:sldLayoutMk cId="1696552350" sldId="2147483827"/>
          </pc:sldLayoutMkLst>
          <pc:spChg chg="add mod">
            <ac:chgData name="Hans Gelissen (DHL SSC Maastricht)" userId="1afa8510-4eed-4b73-a29e-678838cd8acd" providerId="ADAL" clId="{B19B2550-6638-4B2A-9975-FD42BA1D712A}" dt="2023-07-06T12:04:12.596" v="23"/>
            <ac:spMkLst>
              <pc:docMk/>
              <pc:sldMasterMk cId="606287967" sldId="2147483766"/>
              <pc:sldLayoutMk cId="1696552350" sldId="2147483827"/>
              <ac:spMk id="2" creationId="{4A37C555-20EF-9DA1-F5E0-8A49259324D5}"/>
            </ac:spMkLst>
          </pc:spChg>
        </pc:sldLayoutChg>
        <pc:sldLayoutChg chg="addSp modSp">
          <pc:chgData name="Hans Gelissen (DHL SSC Maastricht)" userId="1afa8510-4eed-4b73-a29e-678838cd8acd" providerId="ADAL" clId="{B19B2550-6638-4B2A-9975-FD42BA1D712A}" dt="2023-07-06T12:04:13.300" v="24"/>
          <pc:sldLayoutMkLst>
            <pc:docMk/>
            <pc:sldMasterMk cId="606287967" sldId="2147483766"/>
            <pc:sldLayoutMk cId="3968345858" sldId="2147483828"/>
          </pc:sldLayoutMkLst>
          <pc:spChg chg="add mod">
            <ac:chgData name="Hans Gelissen (DHL SSC Maastricht)" userId="1afa8510-4eed-4b73-a29e-678838cd8acd" providerId="ADAL" clId="{B19B2550-6638-4B2A-9975-FD42BA1D712A}" dt="2023-07-06T12:04:13.300" v="24"/>
            <ac:spMkLst>
              <pc:docMk/>
              <pc:sldMasterMk cId="606287967" sldId="2147483766"/>
              <pc:sldLayoutMk cId="3968345858" sldId="2147483828"/>
              <ac:spMk id="2" creationId="{543AEF6C-FB23-E0CE-1433-F8A9D40D6C08}"/>
            </ac:spMkLst>
          </pc:spChg>
        </pc:sldLayoutChg>
        <pc:sldLayoutChg chg="addSp modSp">
          <pc:chgData name="Hans Gelissen (DHL SSC Maastricht)" userId="1afa8510-4eed-4b73-a29e-678838cd8acd" providerId="ADAL" clId="{B19B2550-6638-4B2A-9975-FD42BA1D712A}" dt="2023-07-06T12:04:13.821" v="25"/>
          <pc:sldLayoutMkLst>
            <pc:docMk/>
            <pc:sldMasterMk cId="606287967" sldId="2147483766"/>
            <pc:sldLayoutMk cId="875516560" sldId="2147483829"/>
          </pc:sldLayoutMkLst>
          <pc:spChg chg="add mod">
            <ac:chgData name="Hans Gelissen (DHL SSC Maastricht)" userId="1afa8510-4eed-4b73-a29e-678838cd8acd" providerId="ADAL" clId="{B19B2550-6638-4B2A-9975-FD42BA1D712A}" dt="2023-07-06T12:04:13.821" v="25"/>
            <ac:spMkLst>
              <pc:docMk/>
              <pc:sldMasterMk cId="606287967" sldId="2147483766"/>
              <pc:sldLayoutMk cId="875516560" sldId="2147483829"/>
              <ac:spMk id="2" creationId="{38227D32-825C-4E9A-3014-82A0AC2195A9}"/>
            </ac:spMkLst>
          </pc:spChg>
        </pc:sldLayoutChg>
        <pc:sldLayoutChg chg="addSp modSp">
          <pc:chgData name="Hans Gelissen (DHL SSC Maastricht)" userId="1afa8510-4eed-4b73-a29e-678838cd8acd" providerId="ADAL" clId="{B19B2550-6638-4B2A-9975-FD42BA1D712A}" dt="2023-07-06T12:04:11.947" v="22"/>
          <pc:sldLayoutMkLst>
            <pc:docMk/>
            <pc:sldMasterMk cId="606287967" sldId="2147483766"/>
            <pc:sldLayoutMk cId="3381309611" sldId="2147483833"/>
          </pc:sldLayoutMkLst>
          <pc:spChg chg="add mod">
            <ac:chgData name="Hans Gelissen (DHL SSC Maastricht)" userId="1afa8510-4eed-4b73-a29e-678838cd8acd" providerId="ADAL" clId="{B19B2550-6638-4B2A-9975-FD42BA1D712A}" dt="2023-07-06T12:04:11.947" v="22"/>
            <ac:spMkLst>
              <pc:docMk/>
              <pc:sldMasterMk cId="606287967" sldId="2147483766"/>
              <pc:sldLayoutMk cId="3381309611" sldId="2147483833"/>
              <ac:spMk id="2" creationId="{B6E5E44C-51A2-B85E-EE77-D7FD3E129559}"/>
            </ac:spMkLst>
          </pc:spChg>
        </pc:sldLayoutChg>
        <pc:sldLayoutChg chg="addSp modSp">
          <pc:chgData name="Hans Gelissen (DHL SSC Maastricht)" userId="1afa8510-4eed-4b73-a29e-678838cd8acd" providerId="ADAL" clId="{B19B2550-6638-4B2A-9975-FD42BA1D712A}" dt="2023-07-06T12:04:14.369" v="26"/>
          <pc:sldLayoutMkLst>
            <pc:docMk/>
            <pc:sldMasterMk cId="606287967" sldId="2147483766"/>
            <pc:sldLayoutMk cId="2109719178" sldId="2147483881"/>
          </pc:sldLayoutMkLst>
          <pc:spChg chg="add mod">
            <ac:chgData name="Hans Gelissen (DHL SSC Maastricht)" userId="1afa8510-4eed-4b73-a29e-678838cd8acd" providerId="ADAL" clId="{B19B2550-6638-4B2A-9975-FD42BA1D712A}" dt="2023-07-06T12:04:14.369" v="26"/>
            <ac:spMkLst>
              <pc:docMk/>
              <pc:sldMasterMk cId="606287967" sldId="2147483766"/>
              <pc:sldLayoutMk cId="2109719178" sldId="2147483881"/>
              <ac:spMk id="2" creationId="{4389CB87-57C9-6972-9882-0A0B3F18FD2E}"/>
            </ac:spMkLst>
          </pc:spChg>
        </pc:sldLayoutChg>
        <pc:sldLayoutChg chg="addSp modSp">
          <pc:chgData name="Hans Gelissen (DHL SSC Maastricht)" userId="1afa8510-4eed-4b73-a29e-678838cd8acd" providerId="ADAL" clId="{B19B2550-6638-4B2A-9975-FD42BA1D712A}" dt="2023-07-06T12:04:14.950" v="27"/>
          <pc:sldLayoutMkLst>
            <pc:docMk/>
            <pc:sldMasterMk cId="606287967" sldId="2147483766"/>
            <pc:sldLayoutMk cId="2371610937" sldId="2147483882"/>
          </pc:sldLayoutMkLst>
          <pc:spChg chg="add mod">
            <ac:chgData name="Hans Gelissen (DHL SSC Maastricht)" userId="1afa8510-4eed-4b73-a29e-678838cd8acd" providerId="ADAL" clId="{B19B2550-6638-4B2A-9975-FD42BA1D712A}" dt="2023-07-06T12:04:14.950" v="27"/>
            <ac:spMkLst>
              <pc:docMk/>
              <pc:sldMasterMk cId="606287967" sldId="2147483766"/>
              <pc:sldLayoutMk cId="2371610937" sldId="2147483882"/>
              <ac:spMk id="2" creationId="{5B3357F2-E850-A943-ADA7-721249C3A7AA}"/>
            </ac:spMkLst>
          </pc:spChg>
        </pc:sldLayoutChg>
        <pc:sldLayoutChg chg="addSp modSp">
          <pc:chgData name="Hans Gelissen (DHL SSC Maastricht)" userId="1afa8510-4eed-4b73-a29e-678838cd8acd" providerId="ADAL" clId="{B19B2550-6638-4B2A-9975-FD42BA1D712A}" dt="2023-07-06T12:04:16.085" v="28"/>
          <pc:sldLayoutMkLst>
            <pc:docMk/>
            <pc:sldMasterMk cId="606287967" sldId="2147483766"/>
            <pc:sldLayoutMk cId="1541074054" sldId="2147483883"/>
          </pc:sldLayoutMkLst>
          <pc:spChg chg="add mod">
            <ac:chgData name="Hans Gelissen (DHL SSC Maastricht)" userId="1afa8510-4eed-4b73-a29e-678838cd8acd" providerId="ADAL" clId="{B19B2550-6638-4B2A-9975-FD42BA1D712A}" dt="2023-07-06T12:04:16.085" v="28"/>
            <ac:spMkLst>
              <pc:docMk/>
              <pc:sldMasterMk cId="606287967" sldId="2147483766"/>
              <pc:sldLayoutMk cId="1541074054" sldId="2147483883"/>
              <ac:spMk id="2" creationId="{179AA169-12A8-C627-6A55-6D9E2C9F7B78}"/>
            </ac:spMkLst>
          </pc:spChg>
        </pc:sldLayoutChg>
        <pc:sldLayoutChg chg="addSp modSp">
          <pc:chgData name="Hans Gelissen (DHL SSC Maastricht)" userId="1afa8510-4eed-4b73-a29e-678838cd8acd" providerId="ADAL" clId="{B19B2550-6638-4B2A-9975-FD42BA1D712A}" dt="2023-07-06T12:04:16.773" v="29"/>
          <pc:sldLayoutMkLst>
            <pc:docMk/>
            <pc:sldMasterMk cId="606287967" sldId="2147483766"/>
            <pc:sldLayoutMk cId="639221087" sldId="2147483884"/>
          </pc:sldLayoutMkLst>
          <pc:spChg chg="add mod">
            <ac:chgData name="Hans Gelissen (DHL SSC Maastricht)" userId="1afa8510-4eed-4b73-a29e-678838cd8acd" providerId="ADAL" clId="{B19B2550-6638-4B2A-9975-FD42BA1D712A}" dt="2023-07-06T12:04:16.773" v="29"/>
            <ac:spMkLst>
              <pc:docMk/>
              <pc:sldMasterMk cId="606287967" sldId="2147483766"/>
              <pc:sldLayoutMk cId="639221087" sldId="2147483884"/>
              <ac:spMk id="2" creationId="{7EA46A8F-5633-1E27-6C2A-C660D8693CE0}"/>
            </ac:spMkLst>
          </pc:spChg>
        </pc:sldLayoutChg>
        <pc:sldLayoutChg chg="addSp modSp">
          <pc:chgData name="Hans Gelissen (DHL SSC Maastricht)" userId="1afa8510-4eed-4b73-a29e-678838cd8acd" providerId="ADAL" clId="{B19B2550-6638-4B2A-9975-FD42BA1D712A}" dt="2023-07-06T12:04:17.821" v="30"/>
          <pc:sldLayoutMkLst>
            <pc:docMk/>
            <pc:sldMasterMk cId="606287967" sldId="2147483766"/>
            <pc:sldLayoutMk cId="609674377" sldId="2147483929"/>
          </pc:sldLayoutMkLst>
          <pc:spChg chg="add mod">
            <ac:chgData name="Hans Gelissen (DHL SSC Maastricht)" userId="1afa8510-4eed-4b73-a29e-678838cd8acd" providerId="ADAL" clId="{B19B2550-6638-4B2A-9975-FD42BA1D712A}" dt="2023-07-06T12:04:17.821" v="30"/>
            <ac:spMkLst>
              <pc:docMk/>
              <pc:sldMasterMk cId="606287967" sldId="2147483766"/>
              <pc:sldLayoutMk cId="609674377" sldId="2147483929"/>
              <ac:spMk id="2" creationId="{A844CB99-67E2-71F8-CFED-E085EA7E1207}"/>
            </ac:spMkLst>
          </pc:spChg>
        </pc:sldLayoutChg>
        <pc:sldLayoutChg chg="addSp modSp">
          <pc:chgData name="Hans Gelissen (DHL SSC Maastricht)" userId="1afa8510-4eed-4b73-a29e-678838cd8acd" providerId="ADAL" clId="{B19B2550-6638-4B2A-9975-FD42BA1D712A}" dt="2023-07-06T12:04:18.255" v="31"/>
          <pc:sldLayoutMkLst>
            <pc:docMk/>
            <pc:sldMasterMk cId="606287967" sldId="2147483766"/>
            <pc:sldLayoutMk cId="3078116026" sldId="2147483930"/>
          </pc:sldLayoutMkLst>
          <pc:spChg chg="add mod">
            <ac:chgData name="Hans Gelissen (DHL SSC Maastricht)" userId="1afa8510-4eed-4b73-a29e-678838cd8acd" providerId="ADAL" clId="{B19B2550-6638-4B2A-9975-FD42BA1D712A}" dt="2023-07-06T12:04:18.255" v="31"/>
            <ac:spMkLst>
              <pc:docMk/>
              <pc:sldMasterMk cId="606287967" sldId="2147483766"/>
              <pc:sldLayoutMk cId="3078116026" sldId="2147483930"/>
              <ac:spMk id="2" creationId="{5B1FF57E-8442-B004-9DD3-22E4F94E2D75}"/>
            </ac:spMkLst>
          </pc:spChg>
        </pc:sldLayoutChg>
        <pc:sldLayoutChg chg="addSp modSp">
          <pc:chgData name="Hans Gelissen (DHL SSC Maastricht)" userId="1afa8510-4eed-4b73-a29e-678838cd8acd" providerId="ADAL" clId="{B19B2550-6638-4B2A-9975-FD42BA1D712A}" dt="2023-07-06T12:04:18.622" v="32"/>
          <pc:sldLayoutMkLst>
            <pc:docMk/>
            <pc:sldMasterMk cId="606287967" sldId="2147483766"/>
            <pc:sldLayoutMk cId="3890049931" sldId="2147483931"/>
          </pc:sldLayoutMkLst>
          <pc:spChg chg="add mod">
            <ac:chgData name="Hans Gelissen (DHL SSC Maastricht)" userId="1afa8510-4eed-4b73-a29e-678838cd8acd" providerId="ADAL" clId="{B19B2550-6638-4B2A-9975-FD42BA1D712A}" dt="2023-07-06T12:04:18.622" v="32"/>
            <ac:spMkLst>
              <pc:docMk/>
              <pc:sldMasterMk cId="606287967" sldId="2147483766"/>
              <pc:sldLayoutMk cId="3890049931" sldId="2147483931"/>
              <ac:spMk id="2" creationId="{85032612-1A06-8A1A-4D4E-26EB7E347760}"/>
            </ac:spMkLst>
          </pc:spChg>
        </pc:sldLayoutChg>
        <pc:sldLayoutChg chg="addSp modSp">
          <pc:chgData name="Hans Gelissen (DHL SSC Maastricht)" userId="1afa8510-4eed-4b73-a29e-678838cd8acd" providerId="ADAL" clId="{B19B2550-6638-4B2A-9975-FD42BA1D712A}" dt="2023-07-06T12:04:19.429" v="33"/>
          <pc:sldLayoutMkLst>
            <pc:docMk/>
            <pc:sldMasterMk cId="606287967" sldId="2147483766"/>
            <pc:sldLayoutMk cId="4096902305" sldId="2147483933"/>
          </pc:sldLayoutMkLst>
          <pc:spChg chg="add mod">
            <ac:chgData name="Hans Gelissen (DHL SSC Maastricht)" userId="1afa8510-4eed-4b73-a29e-678838cd8acd" providerId="ADAL" clId="{B19B2550-6638-4B2A-9975-FD42BA1D712A}" dt="2023-07-06T12:04:19.429" v="33"/>
            <ac:spMkLst>
              <pc:docMk/>
              <pc:sldMasterMk cId="606287967" sldId="2147483766"/>
              <pc:sldLayoutMk cId="4096902305" sldId="2147483933"/>
              <ac:spMk id="2" creationId="{8ABD4B80-095A-77E8-E6E4-468642421346}"/>
            </ac:spMkLst>
          </pc:spChg>
        </pc:sldLayoutChg>
        <pc:sldLayoutChg chg="addSp modSp">
          <pc:chgData name="Hans Gelissen (DHL SSC Maastricht)" userId="1afa8510-4eed-4b73-a29e-678838cd8acd" providerId="ADAL" clId="{B19B2550-6638-4B2A-9975-FD42BA1D712A}" dt="2023-07-06T12:04:19.813" v="34"/>
          <pc:sldLayoutMkLst>
            <pc:docMk/>
            <pc:sldMasterMk cId="606287967" sldId="2147483766"/>
            <pc:sldLayoutMk cId="707791734" sldId="2147483934"/>
          </pc:sldLayoutMkLst>
          <pc:spChg chg="add mod">
            <ac:chgData name="Hans Gelissen (DHL SSC Maastricht)" userId="1afa8510-4eed-4b73-a29e-678838cd8acd" providerId="ADAL" clId="{B19B2550-6638-4B2A-9975-FD42BA1D712A}" dt="2023-07-06T12:04:19.813" v="34"/>
            <ac:spMkLst>
              <pc:docMk/>
              <pc:sldMasterMk cId="606287967" sldId="2147483766"/>
              <pc:sldLayoutMk cId="707791734" sldId="2147483934"/>
              <ac:spMk id="2" creationId="{BC81EE51-AE65-E3A9-255C-616766CCC14C}"/>
            </ac:spMkLst>
          </pc:spChg>
        </pc:sldLayoutChg>
        <pc:sldLayoutChg chg="addSp modSp">
          <pc:chgData name="Hans Gelissen (DHL SSC Maastricht)" userId="1afa8510-4eed-4b73-a29e-678838cd8acd" providerId="ADAL" clId="{B19B2550-6638-4B2A-9975-FD42BA1D712A}" dt="2023-07-06T12:04:20.534" v="35"/>
          <pc:sldLayoutMkLst>
            <pc:docMk/>
            <pc:sldMasterMk cId="606287967" sldId="2147483766"/>
            <pc:sldLayoutMk cId="1328022181" sldId="2147483935"/>
          </pc:sldLayoutMkLst>
          <pc:spChg chg="add mod">
            <ac:chgData name="Hans Gelissen (DHL SSC Maastricht)" userId="1afa8510-4eed-4b73-a29e-678838cd8acd" providerId="ADAL" clId="{B19B2550-6638-4B2A-9975-FD42BA1D712A}" dt="2023-07-06T12:04:20.534" v="35"/>
            <ac:spMkLst>
              <pc:docMk/>
              <pc:sldMasterMk cId="606287967" sldId="2147483766"/>
              <pc:sldLayoutMk cId="1328022181" sldId="2147483935"/>
              <ac:spMk id="2" creationId="{1A82689F-A612-39B4-71FF-B1F66AC883B2}"/>
            </ac:spMkLst>
          </pc:spChg>
        </pc:sldLayoutChg>
        <pc:sldLayoutChg chg="addSp modSp">
          <pc:chgData name="Hans Gelissen (DHL SSC Maastricht)" userId="1afa8510-4eed-4b73-a29e-678838cd8acd" providerId="ADAL" clId="{B19B2550-6638-4B2A-9975-FD42BA1D712A}" dt="2023-07-06T12:04:23.086" v="36"/>
          <pc:sldLayoutMkLst>
            <pc:docMk/>
            <pc:sldMasterMk cId="606287967" sldId="2147483766"/>
            <pc:sldLayoutMk cId="1009040859" sldId="2147483936"/>
          </pc:sldLayoutMkLst>
          <pc:spChg chg="add mod">
            <ac:chgData name="Hans Gelissen (DHL SSC Maastricht)" userId="1afa8510-4eed-4b73-a29e-678838cd8acd" providerId="ADAL" clId="{B19B2550-6638-4B2A-9975-FD42BA1D712A}" dt="2023-07-06T12:04:23.086" v="36"/>
            <ac:spMkLst>
              <pc:docMk/>
              <pc:sldMasterMk cId="606287967" sldId="2147483766"/>
              <pc:sldLayoutMk cId="1009040859" sldId="2147483936"/>
              <ac:spMk id="2" creationId="{89EDC8C4-6160-5F1B-7B56-4D35C542C3C2}"/>
            </ac:spMkLst>
          </pc:spChg>
        </pc:sldLayoutChg>
      </pc:sldMasterChg>
      <pc:sldMasterChg chg="addSp modSp modSldLayout">
        <pc:chgData name="Hans Gelissen (DHL SSC Maastricht)" userId="1afa8510-4eed-4b73-a29e-678838cd8acd" providerId="ADAL" clId="{B19B2550-6638-4B2A-9975-FD42BA1D712A}" dt="2023-07-06T12:04:34.909" v="47"/>
        <pc:sldMasterMkLst>
          <pc:docMk/>
          <pc:sldMasterMk cId="727954729" sldId="2147483772"/>
        </pc:sldMasterMkLst>
        <pc:spChg chg="add mod">
          <ac:chgData name="Hans Gelissen (DHL SSC Maastricht)" userId="1afa8510-4eed-4b73-a29e-678838cd8acd" providerId="ADAL" clId="{B19B2550-6638-4B2A-9975-FD42BA1D712A}" dt="2023-07-06T12:02:56.886" v="6"/>
          <ac:spMkLst>
            <pc:docMk/>
            <pc:sldMasterMk cId="727954729" sldId="2147483772"/>
            <ac:spMk id="2" creationId="{53A2A764-8D8A-FE6E-5226-45BDC932E3AD}"/>
          </ac:spMkLst>
        </pc:spChg>
        <pc:sldLayoutChg chg="addSp modSp">
          <pc:chgData name="Hans Gelissen (DHL SSC Maastricht)" userId="1afa8510-4eed-4b73-a29e-678838cd8acd" providerId="ADAL" clId="{B19B2550-6638-4B2A-9975-FD42BA1D712A}" dt="2023-07-06T12:04:28.306" v="38"/>
          <pc:sldLayoutMkLst>
            <pc:docMk/>
            <pc:sldMasterMk cId="727954729" sldId="2147483772"/>
            <pc:sldLayoutMk cId="1997391794" sldId="2147483734"/>
          </pc:sldLayoutMkLst>
          <pc:spChg chg="add mod">
            <ac:chgData name="Hans Gelissen (DHL SSC Maastricht)" userId="1afa8510-4eed-4b73-a29e-678838cd8acd" providerId="ADAL" clId="{B19B2550-6638-4B2A-9975-FD42BA1D712A}" dt="2023-07-06T12:04:28.306" v="38"/>
            <ac:spMkLst>
              <pc:docMk/>
              <pc:sldMasterMk cId="727954729" sldId="2147483772"/>
              <pc:sldLayoutMk cId="1997391794" sldId="2147483734"/>
              <ac:spMk id="4" creationId="{7796DB0E-5033-A021-3355-EC551D90F178}"/>
            </ac:spMkLst>
          </pc:spChg>
        </pc:sldLayoutChg>
        <pc:sldLayoutChg chg="addSp modSp">
          <pc:chgData name="Hans Gelissen (DHL SSC Maastricht)" userId="1afa8510-4eed-4b73-a29e-678838cd8acd" providerId="ADAL" clId="{B19B2550-6638-4B2A-9975-FD42BA1D712A}" dt="2023-07-06T12:04:29.653" v="39"/>
          <pc:sldLayoutMkLst>
            <pc:docMk/>
            <pc:sldMasterMk cId="727954729" sldId="2147483772"/>
            <pc:sldLayoutMk cId="3070187357" sldId="2147483773"/>
          </pc:sldLayoutMkLst>
          <pc:spChg chg="add mod">
            <ac:chgData name="Hans Gelissen (DHL SSC Maastricht)" userId="1afa8510-4eed-4b73-a29e-678838cd8acd" providerId="ADAL" clId="{B19B2550-6638-4B2A-9975-FD42BA1D712A}" dt="2023-07-06T12:04:29.653" v="39"/>
            <ac:spMkLst>
              <pc:docMk/>
              <pc:sldMasterMk cId="727954729" sldId="2147483772"/>
              <pc:sldLayoutMk cId="3070187357" sldId="2147483773"/>
              <ac:spMk id="4" creationId="{34E2E0F7-1F83-56D5-1363-FF71EE0C308D}"/>
            </ac:spMkLst>
          </pc:spChg>
        </pc:sldLayoutChg>
        <pc:sldLayoutChg chg="addSp modSp">
          <pc:chgData name="Hans Gelissen (DHL SSC Maastricht)" userId="1afa8510-4eed-4b73-a29e-678838cd8acd" providerId="ADAL" clId="{B19B2550-6638-4B2A-9975-FD42BA1D712A}" dt="2023-07-06T12:04:30.200" v="40"/>
          <pc:sldLayoutMkLst>
            <pc:docMk/>
            <pc:sldMasterMk cId="727954729" sldId="2147483772"/>
            <pc:sldLayoutMk cId="2597155215" sldId="2147483774"/>
          </pc:sldLayoutMkLst>
          <pc:spChg chg="add mod">
            <ac:chgData name="Hans Gelissen (DHL SSC Maastricht)" userId="1afa8510-4eed-4b73-a29e-678838cd8acd" providerId="ADAL" clId="{B19B2550-6638-4B2A-9975-FD42BA1D712A}" dt="2023-07-06T12:04:30.200" v="40"/>
            <ac:spMkLst>
              <pc:docMk/>
              <pc:sldMasterMk cId="727954729" sldId="2147483772"/>
              <pc:sldLayoutMk cId="2597155215" sldId="2147483774"/>
              <ac:spMk id="4" creationId="{743F93CA-E00B-8FDF-7B26-8FF97B021E0B}"/>
            </ac:spMkLst>
          </pc:spChg>
        </pc:sldLayoutChg>
        <pc:sldLayoutChg chg="addSp modSp">
          <pc:chgData name="Hans Gelissen (DHL SSC Maastricht)" userId="1afa8510-4eed-4b73-a29e-678838cd8acd" providerId="ADAL" clId="{B19B2550-6638-4B2A-9975-FD42BA1D712A}" dt="2023-07-06T12:04:30.586" v="41"/>
          <pc:sldLayoutMkLst>
            <pc:docMk/>
            <pc:sldMasterMk cId="727954729" sldId="2147483772"/>
            <pc:sldLayoutMk cId="1441526566" sldId="2147484017"/>
          </pc:sldLayoutMkLst>
          <pc:spChg chg="add mod">
            <ac:chgData name="Hans Gelissen (DHL SSC Maastricht)" userId="1afa8510-4eed-4b73-a29e-678838cd8acd" providerId="ADAL" clId="{B19B2550-6638-4B2A-9975-FD42BA1D712A}" dt="2023-07-06T12:04:30.586" v="41"/>
            <ac:spMkLst>
              <pc:docMk/>
              <pc:sldMasterMk cId="727954729" sldId="2147483772"/>
              <pc:sldLayoutMk cId="1441526566" sldId="2147484017"/>
              <ac:spMk id="3" creationId="{268FD83D-7EB3-CE01-5C5D-03D745256513}"/>
            </ac:spMkLst>
          </pc:spChg>
        </pc:sldLayoutChg>
        <pc:sldLayoutChg chg="addSp modSp">
          <pc:chgData name="Hans Gelissen (DHL SSC Maastricht)" userId="1afa8510-4eed-4b73-a29e-678838cd8acd" providerId="ADAL" clId="{B19B2550-6638-4B2A-9975-FD42BA1D712A}" dt="2023-07-06T12:04:30.928" v="42"/>
          <pc:sldLayoutMkLst>
            <pc:docMk/>
            <pc:sldMasterMk cId="727954729" sldId="2147483772"/>
            <pc:sldLayoutMk cId="3489306472" sldId="2147484018"/>
          </pc:sldLayoutMkLst>
          <pc:spChg chg="add mod">
            <ac:chgData name="Hans Gelissen (DHL SSC Maastricht)" userId="1afa8510-4eed-4b73-a29e-678838cd8acd" providerId="ADAL" clId="{B19B2550-6638-4B2A-9975-FD42BA1D712A}" dt="2023-07-06T12:04:30.928" v="42"/>
            <ac:spMkLst>
              <pc:docMk/>
              <pc:sldMasterMk cId="727954729" sldId="2147483772"/>
              <pc:sldLayoutMk cId="3489306472" sldId="2147484018"/>
              <ac:spMk id="3" creationId="{28E21889-CD1C-FCFE-53B0-1857A233B24F}"/>
            </ac:spMkLst>
          </pc:spChg>
        </pc:sldLayoutChg>
        <pc:sldLayoutChg chg="addSp modSp">
          <pc:chgData name="Hans Gelissen (DHL SSC Maastricht)" userId="1afa8510-4eed-4b73-a29e-678838cd8acd" providerId="ADAL" clId="{B19B2550-6638-4B2A-9975-FD42BA1D712A}" dt="2023-07-06T12:04:31.252" v="43"/>
          <pc:sldLayoutMkLst>
            <pc:docMk/>
            <pc:sldMasterMk cId="727954729" sldId="2147483772"/>
            <pc:sldLayoutMk cId="215789223" sldId="2147484019"/>
          </pc:sldLayoutMkLst>
          <pc:spChg chg="add mod">
            <ac:chgData name="Hans Gelissen (DHL SSC Maastricht)" userId="1afa8510-4eed-4b73-a29e-678838cd8acd" providerId="ADAL" clId="{B19B2550-6638-4B2A-9975-FD42BA1D712A}" dt="2023-07-06T12:04:31.252" v="43"/>
            <ac:spMkLst>
              <pc:docMk/>
              <pc:sldMasterMk cId="727954729" sldId="2147483772"/>
              <pc:sldLayoutMk cId="215789223" sldId="2147484019"/>
              <ac:spMk id="3" creationId="{61D1FDD8-C5B5-E7F6-5043-F4A5ACC25537}"/>
            </ac:spMkLst>
          </pc:spChg>
        </pc:sldLayoutChg>
        <pc:sldLayoutChg chg="addSp modSp">
          <pc:chgData name="Hans Gelissen (DHL SSC Maastricht)" userId="1afa8510-4eed-4b73-a29e-678838cd8acd" providerId="ADAL" clId="{B19B2550-6638-4B2A-9975-FD42BA1D712A}" dt="2023-07-06T12:04:31.482" v="44"/>
          <pc:sldLayoutMkLst>
            <pc:docMk/>
            <pc:sldMasterMk cId="727954729" sldId="2147483772"/>
            <pc:sldLayoutMk cId="3201581599" sldId="2147484021"/>
          </pc:sldLayoutMkLst>
          <pc:spChg chg="add mod">
            <ac:chgData name="Hans Gelissen (DHL SSC Maastricht)" userId="1afa8510-4eed-4b73-a29e-678838cd8acd" providerId="ADAL" clId="{B19B2550-6638-4B2A-9975-FD42BA1D712A}" dt="2023-07-06T12:04:31.482" v="44"/>
            <ac:spMkLst>
              <pc:docMk/>
              <pc:sldMasterMk cId="727954729" sldId="2147483772"/>
              <pc:sldLayoutMk cId="3201581599" sldId="2147484021"/>
              <ac:spMk id="3" creationId="{F70E4CBC-00C3-AD8A-D786-99A020F09F35}"/>
            </ac:spMkLst>
          </pc:spChg>
        </pc:sldLayoutChg>
        <pc:sldLayoutChg chg="addSp modSp">
          <pc:chgData name="Hans Gelissen (DHL SSC Maastricht)" userId="1afa8510-4eed-4b73-a29e-678838cd8acd" providerId="ADAL" clId="{B19B2550-6638-4B2A-9975-FD42BA1D712A}" dt="2023-07-06T12:04:32.202" v="45"/>
          <pc:sldLayoutMkLst>
            <pc:docMk/>
            <pc:sldMasterMk cId="727954729" sldId="2147483772"/>
            <pc:sldLayoutMk cId="636865668" sldId="2147484023"/>
          </pc:sldLayoutMkLst>
          <pc:spChg chg="add mod">
            <ac:chgData name="Hans Gelissen (DHL SSC Maastricht)" userId="1afa8510-4eed-4b73-a29e-678838cd8acd" providerId="ADAL" clId="{B19B2550-6638-4B2A-9975-FD42BA1D712A}" dt="2023-07-06T12:04:32.202" v="45"/>
            <ac:spMkLst>
              <pc:docMk/>
              <pc:sldMasterMk cId="727954729" sldId="2147483772"/>
              <pc:sldLayoutMk cId="636865668" sldId="2147484023"/>
              <ac:spMk id="3" creationId="{0CA93417-60DF-0547-2784-01DABD4A2748}"/>
            </ac:spMkLst>
          </pc:spChg>
        </pc:sldLayoutChg>
        <pc:sldLayoutChg chg="addSp modSp">
          <pc:chgData name="Hans Gelissen (DHL SSC Maastricht)" userId="1afa8510-4eed-4b73-a29e-678838cd8acd" providerId="ADAL" clId="{B19B2550-6638-4B2A-9975-FD42BA1D712A}" dt="2023-07-06T12:04:32.679" v="46"/>
          <pc:sldLayoutMkLst>
            <pc:docMk/>
            <pc:sldMasterMk cId="727954729" sldId="2147483772"/>
            <pc:sldLayoutMk cId="2943944997" sldId="2147484026"/>
          </pc:sldLayoutMkLst>
          <pc:spChg chg="add mod">
            <ac:chgData name="Hans Gelissen (DHL SSC Maastricht)" userId="1afa8510-4eed-4b73-a29e-678838cd8acd" providerId="ADAL" clId="{B19B2550-6638-4B2A-9975-FD42BA1D712A}" dt="2023-07-06T12:04:32.679" v="46"/>
            <ac:spMkLst>
              <pc:docMk/>
              <pc:sldMasterMk cId="727954729" sldId="2147483772"/>
              <pc:sldLayoutMk cId="2943944997" sldId="2147484026"/>
              <ac:spMk id="3" creationId="{FBAA6C83-10C4-BE3D-FDAC-958D5F33C8A1}"/>
            </ac:spMkLst>
          </pc:spChg>
        </pc:sldLayoutChg>
        <pc:sldLayoutChg chg="addSp modSp">
          <pc:chgData name="Hans Gelissen (DHL SSC Maastricht)" userId="1afa8510-4eed-4b73-a29e-678838cd8acd" providerId="ADAL" clId="{B19B2550-6638-4B2A-9975-FD42BA1D712A}" dt="2023-07-06T12:04:34.909" v="47"/>
          <pc:sldLayoutMkLst>
            <pc:docMk/>
            <pc:sldMasterMk cId="727954729" sldId="2147483772"/>
            <pc:sldLayoutMk cId="470324799" sldId="2147484027"/>
          </pc:sldLayoutMkLst>
          <pc:spChg chg="add mod">
            <ac:chgData name="Hans Gelissen (DHL SSC Maastricht)" userId="1afa8510-4eed-4b73-a29e-678838cd8acd" providerId="ADAL" clId="{B19B2550-6638-4B2A-9975-FD42BA1D712A}" dt="2023-07-06T12:04:34.909" v="47"/>
            <ac:spMkLst>
              <pc:docMk/>
              <pc:sldMasterMk cId="727954729" sldId="2147483772"/>
              <pc:sldLayoutMk cId="470324799" sldId="2147484027"/>
              <ac:spMk id="3" creationId="{45CE2EE8-BF5E-86EE-23E9-59F0E7342417}"/>
            </ac:spMkLst>
          </pc:spChg>
        </pc:sldLayoutChg>
      </pc:sldMasterChg>
      <pc:sldMasterChg chg="addSp modSp modSldLayout">
        <pc:chgData name="Hans Gelissen (DHL SSC Maastricht)" userId="1afa8510-4eed-4b73-a29e-678838cd8acd" providerId="ADAL" clId="{B19B2550-6638-4B2A-9975-FD42BA1D712A}" dt="2023-07-06T12:04:46.629" v="67"/>
        <pc:sldMasterMkLst>
          <pc:docMk/>
          <pc:sldMasterMk cId="3687066805" sldId="2147483775"/>
        </pc:sldMasterMkLst>
        <pc:spChg chg="add mod">
          <ac:chgData name="Hans Gelissen (DHL SSC Maastricht)" userId="1afa8510-4eed-4b73-a29e-678838cd8acd" providerId="ADAL" clId="{B19B2550-6638-4B2A-9975-FD42BA1D712A}" dt="2023-07-06T12:03:01.023" v="7"/>
          <ac:spMkLst>
            <pc:docMk/>
            <pc:sldMasterMk cId="3687066805" sldId="2147483775"/>
            <ac:spMk id="2" creationId="{30270A72-7065-29F9-3CBE-DFA0DEA3E681}"/>
          </ac:spMkLst>
        </pc:spChg>
        <pc:sldLayoutChg chg="addSp modSp">
          <pc:chgData name="Hans Gelissen (DHL SSC Maastricht)" userId="1afa8510-4eed-4b73-a29e-678838cd8acd" providerId="ADAL" clId="{B19B2550-6638-4B2A-9975-FD42BA1D712A}" dt="2023-07-06T12:04:37.164" v="48"/>
          <pc:sldLayoutMkLst>
            <pc:docMk/>
            <pc:sldMasterMk cId="3687066805" sldId="2147483775"/>
            <pc:sldLayoutMk cId="680064133" sldId="2147483745"/>
          </pc:sldLayoutMkLst>
          <pc:spChg chg="add mod">
            <ac:chgData name="Hans Gelissen (DHL SSC Maastricht)" userId="1afa8510-4eed-4b73-a29e-678838cd8acd" providerId="ADAL" clId="{B19B2550-6638-4B2A-9975-FD42BA1D712A}" dt="2023-07-06T12:04:37.164" v="48"/>
            <ac:spMkLst>
              <pc:docMk/>
              <pc:sldMasterMk cId="3687066805" sldId="2147483775"/>
              <pc:sldLayoutMk cId="680064133" sldId="2147483745"/>
              <ac:spMk id="3" creationId="{0305AB79-4C91-2009-2F74-E00E399D0E57}"/>
            </ac:spMkLst>
          </pc:spChg>
        </pc:sldLayoutChg>
        <pc:sldLayoutChg chg="addSp modSp">
          <pc:chgData name="Hans Gelissen (DHL SSC Maastricht)" userId="1afa8510-4eed-4b73-a29e-678838cd8acd" providerId="ADAL" clId="{B19B2550-6638-4B2A-9975-FD42BA1D712A}" dt="2023-07-06T12:04:37.701" v="49"/>
          <pc:sldLayoutMkLst>
            <pc:docMk/>
            <pc:sldMasterMk cId="3687066805" sldId="2147483775"/>
            <pc:sldLayoutMk cId="3786456764" sldId="2147483776"/>
          </pc:sldLayoutMkLst>
          <pc:spChg chg="add mod">
            <ac:chgData name="Hans Gelissen (DHL SSC Maastricht)" userId="1afa8510-4eed-4b73-a29e-678838cd8acd" providerId="ADAL" clId="{B19B2550-6638-4B2A-9975-FD42BA1D712A}" dt="2023-07-06T12:04:37.701" v="49"/>
            <ac:spMkLst>
              <pc:docMk/>
              <pc:sldMasterMk cId="3687066805" sldId="2147483775"/>
              <pc:sldLayoutMk cId="3786456764" sldId="2147483776"/>
              <ac:spMk id="3" creationId="{0FEA9D42-EC75-3BE7-0F4A-6FE695077D7A}"/>
            </ac:spMkLst>
          </pc:spChg>
        </pc:sldLayoutChg>
        <pc:sldLayoutChg chg="addSp modSp">
          <pc:chgData name="Hans Gelissen (DHL SSC Maastricht)" userId="1afa8510-4eed-4b73-a29e-678838cd8acd" providerId="ADAL" clId="{B19B2550-6638-4B2A-9975-FD42BA1D712A}" dt="2023-07-06T12:04:46.629" v="67"/>
          <pc:sldLayoutMkLst>
            <pc:docMk/>
            <pc:sldMasterMk cId="3687066805" sldId="2147483775"/>
            <pc:sldLayoutMk cId="1267003545" sldId="2147483780"/>
          </pc:sldLayoutMkLst>
          <pc:spChg chg="add mod">
            <ac:chgData name="Hans Gelissen (DHL SSC Maastricht)" userId="1afa8510-4eed-4b73-a29e-678838cd8acd" providerId="ADAL" clId="{B19B2550-6638-4B2A-9975-FD42BA1D712A}" dt="2023-07-06T12:04:46.629" v="67"/>
            <ac:spMkLst>
              <pc:docMk/>
              <pc:sldMasterMk cId="3687066805" sldId="2147483775"/>
              <pc:sldLayoutMk cId="1267003545" sldId="2147483780"/>
              <ac:spMk id="3" creationId="{204DCBB8-FDD2-232B-541E-93C85FD5C27B}"/>
            </ac:spMkLst>
          </pc:spChg>
        </pc:sldLayoutChg>
        <pc:sldLayoutChg chg="addSp modSp">
          <pc:chgData name="Hans Gelissen (DHL SSC Maastricht)" userId="1afa8510-4eed-4b73-a29e-678838cd8acd" providerId="ADAL" clId="{B19B2550-6638-4B2A-9975-FD42BA1D712A}" dt="2023-07-06T12:04:38.774" v="50"/>
          <pc:sldLayoutMkLst>
            <pc:docMk/>
            <pc:sldMasterMk cId="3687066805" sldId="2147483775"/>
            <pc:sldLayoutMk cId="1204698674" sldId="2147483781"/>
          </pc:sldLayoutMkLst>
          <pc:spChg chg="add mod">
            <ac:chgData name="Hans Gelissen (DHL SSC Maastricht)" userId="1afa8510-4eed-4b73-a29e-678838cd8acd" providerId="ADAL" clId="{B19B2550-6638-4B2A-9975-FD42BA1D712A}" dt="2023-07-06T12:04:38.774" v="50"/>
            <ac:spMkLst>
              <pc:docMk/>
              <pc:sldMasterMk cId="3687066805" sldId="2147483775"/>
              <pc:sldLayoutMk cId="1204698674" sldId="2147483781"/>
              <ac:spMk id="3" creationId="{33AAC6BA-7D15-B1D0-B30D-230D6074C796}"/>
            </ac:spMkLst>
          </pc:spChg>
        </pc:sldLayoutChg>
        <pc:sldLayoutChg chg="addSp modSp">
          <pc:chgData name="Hans Gelissen (DHL SSC Maastricht)" userId="1afa8510-4eed-4b73-a29e-678838cd8acd" providerId="ADAL" clId="{B19B2550-6638-4B2A-9975-FD42BA1D712A}" dt="2023-07-06T12:04:39.998" v="52"/>
          <pc:sldLayoutMkLst>
            <pc:docMk/>
            <pc:sldMasterMk cId="3687066805" sldId="2147483775"/>
            <pc:sldLayoutMk cId="1596137304" sldId="2147483830"/>
          </pc:sldLayoutMkLst>
          <pc:spChg chg="add mod">
            <ac:chgData name="Hans Gelissen (DHL SSC Maastricht)" userId="1afa8510-4eed-4b73-a29e-678838cd8acd" providerId="ADAL" clId="{B19B2550-6638-4B2A-9975-FD42BA1D712A}" dt="2023-07-06T12:04:39.998" v="52"/>
            <ac:spMkLst>
              <pc:docMk/>
              <pc:sldMasterMk cId="3687066805" sldId="2147483775"/>
              <pc:sldLayoutMk cId="1596137304" sldId="2147483830"/>
              <ac:spMk id="3" creationId="{5F7EE876-A3FB-69E2-7433-19BDB38FE899}"/>
            </ac:spMkLst>
          </pc:spChg>
        </pc:sldLayoutChg>
        <pc:sldLayoutChg chg="addSp modSp">
          <pc:chgData name="Hans Gelissen (DHL SSC Maastricht)" userId="1afa8510-4eed-4b73-a29e-678838cd8acd" providerId="ADAL" clId="{B19B2550-6638-4B2A-9975-FD42BA1D712A}" dt="2023-07-06T12:04:40.438" v="53"/>
          <pc:sldLayoutMkLst>
            <pc:docMk/>
            <pc:sldMasterMk cId="3687066805" sldId="2147483775"/>
            <pc:sldLayoutMk cId="2644514963" sldId="2147483831"/>
          </pc:sldLayoutMkLst>
          <pc:spChg chg="add mod">
            <ac:chgData name="Hans Gelissen (DHL SSC Maastricht)" userId="1afa8510-4eed-4b73-a29e-678838cd8acd" providerId="ADAL" clId="{B19B2550-6638-4B2A-9975-FD42BA1D712A}" dt="2023-07-06T12:04:40.438" v="53"/>
            <ac:spMkLst>
              <pc:docMk/>
              <pc:sldMasterMk cId="3687066805" sldId="2147483775"/>
              <pc:sldLayoutMk cId="2644514963" sldId="2147483831"/>
              <ac:spMk id="3" creationId="{8392B3E6-49BA-9011-A962-89A66B4C1C05}"/>
            </ac:spMkLst>
          </pc:spChg>
        </pc:sldLayoutChg>
        <pc:sldLayoutChg chg="addSp modSp">
          <pc:chgData name="Hans Gelissen (DHL SSC Maastricht)" userId="1afa8510-4eed-4b73-a29e-678838cd8acd" providerId="ADAL" clId="{B19B2550-6638-4B2A-9975-FD42BA1D712A}" dt="2023-07-06T12:04:40.889" v="54"/>
          <pc:sldLayoutMkLst>
            <pc:docMk/>
            <pc:sldMasterMk cId="3687066805" sldId="2147483775"/>
            <pc:sldLayoutMk cId="4247405665" sldId="2147483832"/>
          </pc:sldLayoutMkLst>
          <pc:spChg chg="add mod">
            <ac:chgData name="Hans Gelissen (DHL SSC Maastricht)" userId="1afa8510-4eed-4b73-a29e-678838cd8acd" providerId="ADAL" clId="{B19B2550-6638-4B2A-9975-FD42BA1D712A}" dt="2023-07-06T12:04:40.889" v="54"/>
            <ac:spMkLst>
              <pc:docMk/>
              <pc:sldMasterMk cId="3687066805" sldId="2147483775"/>
              <pc:sldLayoutMk cId="4247405665" sldId="2147483832"/>
              <ac:spMk id="3" creationId="{FD92F522-D2B9-4583-C0BA-092FE327391C}"/>
            </ac:spMkLst>
          </pc:spChg>
        </pc:sldLayoutChg>
        <pc:sldLayoutChg chg="addSp modSp">
          <pc:chgData name="Hans Gelissen (DHL SSC Maastricht)" userId="1afa8510-4eed-4b73-a29e-678838cd8acd" providerId="ADAL" clId="{B19B2550-6638-4B2A-9975-FD42BA1D712A}" dt="2023-07-06T12:04:39.580" v="51"/>
          <pc:sldLayoutMkLst>
            <pc:docMk/>
            <pc:sldMasterMk cId="3687066805" sldId="2147483775"/>
            <pc:sldLayoutMk cId="662326433" sldId="2147483839"/>
          </pc:sldLayoutMkLst>
          <pc:spChg chg="add mod">
            <ac:chgData name="Hans Gelissen (DHL SSC Maastricht)" userId="1afa8510-4eed-4b73-a29e-678838cd8acd" providerId="ADAL" clId="{B19B2550-6638-4B2A-9975-FD42BA1D712A}" dt="2023-07-06T12:04:39.580" v="51"/>
            <ac:spMkLst>
              <pc:docMk/>
              <pc:sldMasterMk cId="3687066805" sldId="2147483775"/>
              <pc:sldLayoutMk cId="662326433" sldId="2147483839"/>
              <ac:spMk id="3" creationId="{162EF731-14C9-2164-DE8C-A418B9B6DC84}"/>
            </ac:spMkLst>
          </pc:spChg>
        </pc:sldLayoutChg>
        <pc:sldLayoutChg chg="addSp modSp">
          <pc:chgData name="Hans Gelissen (DHL SSC Maastricht)" userId="1afa8510-4eed-4b73-a29e-678838cd8acd" providerId="ADAL" clId="{B19B2550-6638-4B2A-9975-FD42BA1D712A}" dt="2023-07-06T12:04:41.635" v="56"/>
          <pc:sldLayoutMkLst>
            <pc:docMk/>
            <pc:sldMasterMk cId="3687066805" sldId="2147483775"/>
            <pc:sldLayoutMk cId="1732030272" sldId="2147483886"/>
          </pc:sldLayoutMkLst>
          <pc:spChg chg="add mod">
            <ac:chgData name="Hans Gelissen (DHL SSC Maastricht)" userId="1afa8510-4eed-4b73-a29e-678838cd8acd" providerId="ADAL" clId="{B19B2550-6638-4B2A-9975-FD42BA1D712A}" dt="2023-07-06T12:04:41.635" v="56"/>
            <ac:spMkLst>
              <pc:docMk/>
              <pc:sldMasterMk cId="3687066805" sldId="2147483775"/>
              <pc:sldLayoutMk cId="1732030272" sldId="2147483886"/>
              <ac:spMk id="3" creationId="{B8C92905-3855-09DD-0B20-4A3DB9C94EF0}"/>
            </ac:spMkLst>
          </pc:spChg>
        </pc:sldLayoutChg>
        <pc:sldLayoutChg chg="addSp modSp">
          <pc:chgData name="Hans Gelissen (DHL SSC Maastricht)" userId="1afa8510-4eed-4b73-a29e-678838cd8acd" providerId="ADAL" clId="{B19B2550-6638-4B2A-9975-FD42BA1D712A}" dt="2023-07-06T12:04:42.005" v="57"/>
          <pc:sldLayoutMkLst>
            <pc:docMk/>
            <pc:sldMasterMk cId="3687066805" sldId="2147483775"/>
            <pc:sldLayoutMk cId="1485632788" sldId="2147483887"/>
          </pc:sldLayoutMkLst>
          <pc:spChg chg="add mod">
            <ac:chgData name="Hans Gelissen (DHL SSC Maastricht)" userId="1afa8510-4eed-4b73-a29e-678838cd8acd" providerId="ADAL" clId="{B19B2550-6638-4B2A-9975-FD42BA1D712A}" dt="2023-07-06T12:04:42.005" v="57"/>
            <ac:spMkLst>
              <pc:docMk/>
              <pc:sldMasterMk cId="3687066805" sldId="2147483775"/>
              <pc:sldLayoutMk cId="1485632788" sldId="2147483887"/>
              <ac:spMk id="3" creationId="{C529FC36-36D6-9A95-EE80-A41556FB5A18}"/>
            </ac:spMkLst>
          </pc:spChg>
        </pc:sldLayoutChg>
        <pc:sldLayoutChg chg="addSp modSp">
          <pc:chgData name="Hans Gelissen (DHL SSC Maastricht)" userId="1afa8510-4eed-4b73-a29e-678838cd8acd" providerId="ADAL" clId="{B19B2550-6638-4B2A-9975-FD42BA1D712A}" dt="2023-07-06T12:04:42.423" v="58"/>
          <pc:sldLayoutMkLst>
            <pc:docMk/>
            <pc:sldMasterMk cId="3687066805" sldId="2147483775"/>
            <pc:sldLayoutMk cId="221168642" sldId="2147483888"/>
          </pc:sldLayoutMkLst>
          <pc:spChg chg="add mod">
            <ac:chgData name="Hans Gelissen (DHL SSC Maastricht)" userId="1afa8510-4eed-4b73-a29e-678838cd8acd" providerId="ADAL" clId="{B19B2550-6638-4B2A-9975-FD42BA1D712A}" dt="2023-07-06T12:04:42.423" v="58"/>
            <ac:spMkLst>
              <pc:docMk/>
              <pc:sldMasterMk cId="3687066805" sldId="2147483775"/>
              <pc:sldLayoutMk cId="221168642" sldId="2147483888"/>
              <ac:spMk id="3" creationId="{4EEAF567-B2C2-C231-E439-A7173DBE4D15}"/>
            </ac:spMkLst>
          </pc:spChg>
        </pc:sldLayoutChg>
        <pc:sldLayoutChg chg="addSp modSp">
          <pc:chgData name="Hans Gelissen (DHL SSC Maastricht)" userId="1afa8510-4eed-4b73-a29e-678838cd8acd" providerId="ADAL" clId="{B19B2550-6638-4B2A-9975-FD42BA1D712A}" dt="2023-07-06T12:04:41.246" v="55"/>
          <pc:sldLayoutMkLst>
            <pc:docMk/>
            <pc:sldMasterMk cId="3687066805" sldId="2147483775"/>
            <pc:sldLayoutMk cId="2337798684" sldId="2147483889"/>
          </pc:sldLayoutMkLst>
          <pc:spChg chg="add mod">
            <ac:chgData name="Hans Gelissen (DHL SSC Maastricht)" userId="1afa8510-4eed-4b73-a29e-678838cd8acd" providerId="ADAL" clId="{B19B2550-6638-4B2A-9975-FD42BA1D712A}" dt="2023-07-06T12:04:41.246" v="55"/>
            <ac:spMkLst>
              <pc:docMk/>
              <pc:sldMasterMk cId="3687066805" sldId="2147483775"/>
              <pc:sldLayoutMk cId="2337798684" sldId="2147483889"/>
              <ac:spMk id="3" creationId="{C6709945-8363-EBEC-38B9-74547B4A5276}"/>
            </ac:spMkLst>
          </pc:spChg>
        </pc:sldLayoutChg>
        <pc:sldLayoutChg chg="addSp modSp">
          <pc:chgData name="Hans Gelissen (DHL SSC Maastricht)" userId="1afa8510-4eed-4b73-a29e-678838cd8acd" providerId="ADAL" clId="{B19B2550-6638-4B2A-9975-FD42BA1D712A}" dt="2023-07-06T12:04:42.771" v="59"/>
          <pc:sldLayoutMkLst>
            <pc:docMk/>
            <pc:sldMasterMk cId="3687066805" sldId="2147483775"/>
            <pc:sldLayoutMk cId="2848435218" sldId="2147483947"/>
          </pc:sldLayoutMkLst>
          <pc:spChg chg="add mod">
            <ac:chgData name="Hans Gelissen (DHL SSC Maastricht)" userId="1afa8510-4eed-4b73-a29e-678838cd8acd" providerId="ADAL" clId="{B19B2550-6638-4B2A-9975-FD42BA1D712A}" dt="2023-07-06T12:04:42.771" v="59"/>
            <ac:spMkLst>
              <pc:docMk/>
              <pc:sldMasterMk cId="3687066805" sldId="2147483775"/>
              <pc:sldLayoutMk cId="2848435218" sldId="2147483947"/>
              <ac:spMk id="3" creationId="{A4E801C5-513C-D36A-B316-A28909B65B76}"/>
            </ac:spMkLst>
          </pc:spChg>
        </pc:sldLayoutChg>
        <pc:sldLayoutChg chg="addSp modSp">
          <pc:chgData name="Hans Gelissen (DHL SSC Maastricht)" userId="1afa8510-4eed-4b73-a29e-678838cd8acd" providerId="ADAL" clId="{B19B2550-6638-4B2A-9975-FD42BA1D712A}" dt="2023-07-06T12:04:43.160" v="60"/>
          <pc:sldLayoutMkLst>
            <pc:docMk/>
            <pc:sldMasterMk cId="3687066805" sldId="2147483775"/>
            <pc:sldLayoutMk cId="4171373829" sldId="2147483948"/>
          </pc:sldLayoutMkLst>
          <pc:spChg chg="add mod">
            <ac:chgData name="Hans Gelissen (DHL SSC Maastricht)" userId="1afa8510-4eed-4b73-a29e-678838cd8acd" providerId="ADAL" clId="{B19B2550-6638-4B2A-9975-FD42BA1D712A}" dt="2023-07-06T12:04:43.160" v="60"/>
            <ac:spMkLst>
              <pc:docMk/>
              <pc:sldMasterMk cId="3687066805" sldId="2147483775"/>
              <pc:sldLayoutMk cId="4171373829" sldId="2147483948"/>
              <ac:spMk id="3" creationId="{D45750CA-D942-AF9D-2EAD-C541CDB62D64}"/>
            </ac:spMkLst>
          </pc:spChg>
        </pc:sldLayoutChg>
        <pc:sldLayoutChg chg="addSp modSp">
          <pc:chgData name="Hans Gelissen (DHL SSC Maastricht)" userId="1afa8510-4eed-4b73-a29e-678838cd8acd" providerId="ADAL" clId="{B19B2550-6638-4B2A-9975-FD42BA1D712A}" dt="2023-07-06T12:04:43.537" v="61"/>
          <pc:sldLayoutMkLst>
            <pc:docMk/>
            <pc:sldMasterMk cId="3687066805" sldId="2147483775"/>
            <pc:sldLayoutMk cId="705876065" sldId="2147483949"/>
          </pc:sldLayoutMkLst>
          <pc:spChg chg="add mod">
            <ac:chgData name="Hans Gelissen (DHL SSC Maastricht)" userId="1afa8510-4eed-4b73-a29e-678838cd8acd" providerId="ADAL" clId="{B19B2550-6638-4B2A-9975-FD42BA1D712A}" dt="2023-07-06T12:04:43.537" v="61"/>
            <ac:spMkLst>
              <pc:docMk/>
              <pc:sldMasterMk cId="3687066805" sldId="2147483775"/>
              <pc:sldLayoutMk cId="705876065" sldId="2147483949"/>
              <ac:spMk id="3" creationId="{06AA7ABF-4DB6-B81E-EDBC-27DCF2741D01}"/>
            </ac:spMkLst>
          </pc:spChg>
        </pc:sldLayoutChg>
        <pc:sldLayoutChg chg="addSp modSp">
          <pc:chgData name="Hans Gelissen (DHL SSC Maastricht)" userId="1afa8510-4eed-4b73-a29e-678838cd8acd" providerId="ADAL" clId="{B19B2550-6638-4B2A-9975-FD42BA1D712A}" dt="2023-07-06T12:04:43.914" v="62"/>
          <pc:sldLayoutMkLst>
            <pc:docMk/>
            <pc:sldMasterMk cId="3687066805" sldId="2147483775"/>
            <pc:sldLayoutMk cId="3404922169" sldId="2147483950"/>
          </pc:sldLayoutMkLst>
          <pc:spChg chg="add mod">
            <ac:chgData name="Hans Gelissen (DHL SSC Maastricht)" userId="1afa8510-4eed-4b73-a29e-678838cd8acd" providerId="ADAL" clId="{B19B2550-6638-4B2A-9975-FD42BA1D712A}" dt="2023-07-06T12:04:43.914" v="62"/>
            <ac:spMkLst>
              <pc:docMk/>
              <pc:sldMasterMk cId="3687066805" sldId="2147483775"/>
              <pc:sldLayoutMk cId="3404922169" sldId="2147483950"/>
              <ac:spMk id="3" creationId="{0C92DA97-3FCA-5442-BDFC-5BA9392C5BB0}"/>
            </ac:spMkLst>
          </pc:spChg>
        </pc:sldLayoutChg>
        <pc:sldLayoutChg chg="addSp modSp">
          <pc:chgData name="Hans Gelissen (DHL SSC Maastricht)" userId="1afa8510-4eed-4b73-a29e-678838cd8acd" providerId="ADAL" clId="{B19B2550-6638-4B2A-9975-FD42BA1D712A}" dt="2023-07-06T12:04:44.279" v="63"/>
          <pc:sldLayoutMkLst>
            <pc:docMk/>
            <pc:sldMasterMk cId="3687066805" sldId="2147483775"/>
            <pc:sldLayoutMk cId="4065184156" sldId="2147483951"/>
          </pc:sldLayoutMkLst>
          <pc:spChg chg="add mod">
            <ac:chgData name="Hans Gelissen (DHL SSC Maastricht)" userId="1afa8510-4eed-4b73-a29e-678838cd8acd" providerId="ADAL" clId="{B19B2550-6638-4B2A-9975-FD42BA1D712A}" dt="2023-07-06T12:04:44.279" v="63"/>
            <ac:spMkLst>
              <pc:docMk/>
              <pc:sldMasterMk cId="3687066805" sldId="2147483775"/>
              <pc:sldLayoutMk cId="4065184156" sldId="2147483951"/>
              <ac:spMk id="3" creationId="{6041E8F7-CA1C-98DC-0B0E-A63F4BA91E88}"/>
            </ac:spMkLst>
          </pc:spChg>
        </pc:sldLayoutChg>
        <pc:sldLayoutChg chg="addSp modSp">
          <pc:chgData name="Hans Gelissen (DHL SSC Maastricht)" userId="1afa8510-4eed-4b73-a29e-678838cd8acd" providerId="ADAL" clId="{B19B2550-6638-4B2A-9975-FD42BA1D712A}" dt="2023-07-06T12:04:44.650" v="64"/>
          <pc:sldLayoutMkLst>
            <pc:docMk/>
            <pc:sldMasterMk cId="3687066805" sldId="2147483775"/>
            <pc:sldLayoutMk cId="3431884773" sldId="2147483952"/>
          </pc:sldLayoutMkLst>
          <pc:spChg chg="add mod">
            <ac:chgData name="Hans Gelissen (DHL SSC Maastricht)" userId="1afa8510-4eed-4b73-a29e-678838cd8acd" providerId="ADAL" clId="{B19B2550-6638-4B2A-9975-FD42BA1D712A}" dt="2023-07-06T12:04:44.650" v="64"/>
            <ac:spMkLst>
              <pc:docMk/>
              <pc:sldMasterMk cId="3687066805" sldId="2147483775"/>
              <pc:sldLayoutMk cId="3431884773" sldId="2147483952"/>
              <ac:spMk id="3" creationId="{E2532817-FEEF-58A6-1364-453834F1F18A}"/>
            </ac:spMkLst>
          </pc:spChg>
        </pc:sldLayoutChg>
        <pc:sldLayoutChg chg="addSp modSp">
          <pc:chgData name="Hans Gelissen (DHL SSC Maastricht)" userId="1afa8510-4eed-4b73-a29e-678838cd8acd" providerId="ADAL" clId="{B19B2550-6638-4B2A-9975-FD42BA1D712A}" dt="2023-07-06T12:04:45.050" v="65"/>
          <pc:sldLayoutMkLst>
            <pc:docMk/>
            <pc:sldMasterMk cId="3687066805" sldId="2147483775"/>
            <pc:sldLayoutMk cId="3793421954" sldId="2147483953"/>
          </pc:sldLayoutMkLst>
          <pc:spChg chg="add mod">
            <ac:chgData name="Hans Gelissen (DHL SSC Maastricht)" userId="1afa8510-4eed-4b73-a29e-678838cd8acd" providerId="ADAL" clId="{B19B2550-6638-4B2A-9975-FD42BA1D712A}" dt="2023-07-06T12:04:45.050" v="65"/>
            <ac:spMkLst>
              <pc:docMk/>
              <pc:sldMasterMk cId="3687066805" sldId="2147483775"/>
              <pc:sldLayoutMk cId="3793421954" sldId="2147483953"/>
              <ac:spMk id="3" creationId="{319DEBB2-A87B-B76F-32C6-992B77935E13}"/>
            </ac:spMkLst>
          </pc:spChg>
        </pc:sldLayoutChg>
        <pc:sldLayoutChg chg="addSp modSp">
          <pc:chgData name="Hans Gelissen (DHL SSC Maastricht)" userId="1afa8510-4eed-4b73-a29e-678838cd8acd" providerId="ADAL" clId="{B19B2550-6638-4B2A-9975-FD42BA1D712A}" dt="2023-07-06T12:04:45.369" v="66"/>
          <pc:sldLayoutMkLst>
            <pc:docMk/>
            <pc:sldMasterMk cId="3687066805" sldId="2147483775"/>
            <pc:sldLayoutMk cId="3818604797" sldId="2147483954"/>
          </pc:sldLayoutMkLst>
          <pc:spChg chg="add mod">
            <ac:chgData name="Hans Gelissen (DHL SSC Maastricht)" userId="1afa8510-4eed-4b73-a29e-678838cd8acd" providerId="ADAL" clId="{B19B2550-6638-4B2A-9975-FD42BA1D712A}" dt="2023-07-06T12:04:45.369" v="66"/>
            <ac:spMkLst>
              <pc:docMk/>
              <pc:sldMasterMk cId="3687066805" sldId="2147483775"/>
              <pc:sldLayoutMk cId="3818604797" sldId="2147483954"/>
              <ac:spMk id="3" creationId="{84CC313D-9E6C-FA4F-EE23-39E9B1A0892A}"/>
            </ac:spMkLst>
          </pc:spChg>
        </pc:sldLayoutChg>
      </pc:sldMasterChg>
      <pc:sldMasterChg chg="addSp modSp modSldLayout">
        <pc:chgData name="Hans Gelissen (DHL SSC Maastricht)" userId="1afa8510-4eed-4b73-a29e-678838cd8acd" providerId="ADAL" clId="{B19B2550-6638-4B2A-9975-FD42BA1D712A}" dt="2023-07-06T12:05:10.148" v="91"/>
        <pc:sldMasterMkLst>
          <pc:docMk/>
          <pc:sldMasterMk cId="3009645139" sldId="2147483782"/>
        </pc:sldMasterMkLst>
        <pc:spChg chg="add mod">
          <ac:chgData name="Hans Gelissen (DHL SSC Maastricht)" userId="1afa8510-4eed-4b73-a29e-678838cd8acd" providerId="ADAL" clId="{B19B2550-6638-4B2A-9975-FD42BA1D712A}" dt="2023-07-06T12:03:05.475" v="8"/>
          <ac:spMkLst>
            <pc:docMk/>
            <pc:sldMasterMk cId="3009645139" sldId="2147483782"/>
            <ac:spMk id="2" creationId="{F5B0B268-AC95-6BF6-E29B-174AAE26A00E}"/>
          </ac:spMkLst>
        </pc:spChg>
        <pc:sldLayoutChg chg="addSp modSp">
          <pc:chgData name="Hans Gelissen (DHL SSC Maastricht)" userId="1afa8510-4eed-4b73-a29e-678838cd8acd" providerId="ADAL" clId="{B19B2550-6638-4B2A-9975-FD42BA1D712A}" dt="2023-07-06T12:04:47.970" v="68"/>
          <pc:sldLayoutMkLst>
            <pc:docMk/>
            <pc:sldMasterMk cId="3009645139" sldId="2147483782"/>
            <pc:sldLayoutMk cId="2048209168" sldId="2147483746"/>
          </pc:sldLayoutMkLst>
          <pc:spChg chg="add mod">
            <ac:chgData name="Hans Gelissen (DHL SSC Maastricht)" userId="1afa8510-4eed-4b73-a29e-678838cd8acd" providerId="ADAL" clId="{B19B2550-6638-4B2A-9975-FD42BA1D712A}" dt="2023-07-06T12:04:47.970" v="68"/>
            <ac:spMkLst>
              <pc:docMk/>
              <pc:sldMasterMk cId="3009645139" sldId="2147483782"/>
              <pc:sldLayoutMk cId="2048209168" sldId="2147483746"/>
              <ac:spMk id="3" creationId="{A671BD0C-696E-AC13-C504-908043E6F4CC}"/>
            </ac:spMkLst>
          </pc:spChg>
        </pc:sldLayoutChg>
        <pc:sldLayoutChg chg="addSp modSp">
          <pc:chgData name="Hans Gelissen (DHL SSC Maastricht)" userId="1afa8510-4eed-4b73-a29e-678838cd8acd" providerId="ADAL" clId="{B19B2550-6638-4B2A-9975-FD42BA1D712A}" dt="2023-07-06T12:04:50.319" v="74"/>
          <pc:sldLayoutMkLst>
            <pc:docMk/>
            <pc:sldMasterMk cId="3009645139" sldId="2147483782"/>
            <pc:sldLayoutMk cId="648980338" sldId="2147483802"/>
          </pc:sldLayoutMkLst>
          <pc:spChg chg="add mod">
            <ac:chgData name="Hans Gelissen (DHL SSC Maastricht)" userId="1afa8510-4eed-4b73-a29e-678838cd8acd" providerId="ADAL" clId="{B19B2550-6638-4B2A-9975-FD42BA1D712A}" dt="2023-07-06T12:04:50.319" v="74"/>
            <ac:spMkLst>
              <pc:docMk/>
              <pc:sldMasterMk cId="3009645139" sldId="2147483782"/>
              <pc:sldLayoutMk cId="648980338" sldId="2147483802"/>
              <ac:spMk id="3" creationId="{26DD6CDD-21B1-64B5-C9BE-AEA9582C15A8}"/>
            </ac:spMkLst>
          </pc:spChg>
        </pc:sldLayoutChg>
        <pc:sldLayoutChg chg="addSp modSp">
          <pc:chgData name="Hans Gelissen (DHL SSC Maastricht)" userId="1afa8510-4eed-4b73-a29e-678838cd8acd" providerId="ADAL" clId="{B19B2550-6638-4B2A-9975-FD42BA1D712A}" dt="2023-07-06T12:04:49.894" v="73"/>
          <pc:sldLayoutMkLst>
            <pc:docMk/>
            <pc:sldMasterMk cId="3009645139" sldId="2147483782"/>
            <pc:sldLayoutMk cId="2005618548" sldId="2147483803"/>
          </pc:sldLayoutMkLst>
          <pc:spChg chg="add mod">
            <ac:chgData name="Hans Gelissen (DHL SSC Maastricht)" userId="1afa8510-4eed-4b73-a29e-678838cd8acd" providerId="ADAL" clId="{B19B2550-6638-4B2A-9975-FD42BA1D712A}" dt="2023-07-06T12:04:49.894" v="73"/>
            <ac:spMkLst>
              <pc:docMk/>
              <pc:sldMasterMk cId="3009645139" sldId="2147483782"/>
              <pc:sldLayoutMk cId="2005618548" sldId="2147483803"/>
              <ac:spMk id="3" creationId="{CB241BFF-F702-6DBE-0B06-27F2E1094D52}"/>
            </ac:spMkLst>
          </pc:spChg>
        </pc:sldLayoutChg>
        <pc:sldLayoutChg chg="addSp delSp modSp">
          <pc:chgData name="Hans Gelissen (DHL SSC Maastricht)" userId="1afa8510-4eed-4b73-a29e-678838cd8acd" providerId="ADAL" clId="{B19B2550-6638-4B2A-9975-FD42BA1D712A}" dt="2023-07-06T12:05:10.148" v="91"/>
          <pc:sldLayoutMkLst>
            <pc:docMk/>
            <pc:sldMasterMk cId="3009645139" sldId="2147483782"/>
            <pc:sldLayoutMk cId="2141143529" sldId="2147483804"/>
          </pc:sldLayoutMkLst>
          <pc:spChg chg="add del mod">
            <ac:chgData name="Hans Gelissen (DHL SSC Maastricht)" userId="1afa8510-4eed-4b73-a29e-678838cd8acd" providerId="ADAL" clId="{B19B2550-6638-4B2A-9975-FD42BA1D712A}" dt="2023-07-06T12:05:10.148" v="91"/>
            <ac:spMkLst>
              <pc:docMk/>
              <pc:sldMasterMk cId="3009645139" sldId="2147483782"/>
              <pc:sldLayoutMk cId="2141143529" sldId="2147483804"/>
              <ac:spMk id="3" creationId="{7583F4F1-C62C-2C74-E41E-E30809EC6121}"/>
            </ac:spMkLst>
          </pc:spChg>
        </pc:sldLayoutChg>
        <pc:sldLayoutChg chg="addSp modSp">
          <pc:chgData name="Hans Gelissen (DHL SSC Maastricht)" userId="1afa8510-4eed-4b73-a29e-678838cd8acd" providerId="ADAL" clId="{B19B2550-6638-4B2A-9975-FD42BA1D712A}" dt="2023-07-06T12:04:48.967" v="71"/>
          <pc:sldLayoutMkLst>
            <pc:docMk/>
            <pc:sldMasterMk cId="3009645139" sldId="2147483782"/>
            <pc:sldLayoutMk cId="2696944745" sldId="2147483840"/>
          </pc:sldLayoutMkLst>
          <pc:spChg chg="add mod">
            <ac:chgData name="Hans Gelissen (DHL SSC Maastricht)" userId="1afa8510-4eed-4b73-a29e-678838cd8acd" providerId="ADAL" clId="{B19B2550-6638-4B2A-9975-FD42BA1D712A}" dt="2023-07-06T12:04:48.967" v="71"/>
            <ac:spMkLst>
              <pc:docMk/>
              <pc:sldMasterMk cId="3009645139" sldId="2147483782"/>
              <pc:sldLayoutMk cId="2696944745" sldId="2147483840"/>
              <ac:spMk id="3" creationId="{E4770670-2714-C438-45A7-F5905F7AAEAD}"/>
            </ac:spMkLst>
          </pc:spChg>
        </pc:sldLayoutChg>
        <pc:sldLayoutChg chg="addSp modSp">
          <pc:chgData name="Hans Gelissen (DHL SSC Maastricht)" userId="1afa8510-4eed-4b73-a29e-678838cd8acd" providerId="ADAL" clId="{B19B2550-6638-4B2A-9975-FD42BA1D712A}" dt="2023-07-06T12:04:48.318" v="69"/>
          <pc:sldLayoutMkLst>
            <pc:docMk/>
            <pc:sldMasterMk cId="3009645139" sldId="2147483782"/>
            <pc:sldLayoutMk cId="4274500592" sldId="2147483841"/>
          </pc:sldLayoutMkLst>
          <pc:spChg chg="add mod">
            <ac:chgData name="Hans Gelissen (DHL SSC Maastricht)" userId="1afa8510-4eed-4b73-a29e-678838cd8acd" providerId="ADAL" clId="{B19B2550-6638-4B2A-9975-FD42BA1D712A}" dt="2023-07-06T12:04:48.318" v="69"/>
            <ac:spMkLst>
              <pc:docMk/>
              <pc:sldMasterMk cId="3009645139" sldId="2147483782"/>
              <pc:sldLayoutMk cId="4274500592" sldId="2147483841"/>
              <ac:spMk id="3" creationId="{4294B2CF-4D49-D001-07F3-8F1E8E6C7756}"/>
            </ac:spMkLst>
          </pc:spChg>
        </pc:sldLayoutChg>
        <pc:sldLayoutChg chg="addSp modSp">
          <pc:chgData name="Hans Gelissen (DHL SSC Maastricht)" userId="1afa8510-4eed-4b73-a29e-678838cd8acd" providerId="ADAL" clId="{B19B2550-6638-4B2A-9975-FD42BA1D712A}" dt="2023-07-06T12:04:48.635" v="70"/>
          <pc:sldLayoutMkLst>
            <pc:docMk/>
            <pc:sldMasterMk cId="3009645139" sldId="2147483782"/>
            <pc:sldLayoutMk cId="695310547" sldId="2147483842"/>
          </pc:sldLayoutMkLst>
          <pc:spChg chg="add mod">
            <ac:chgData name="Hans Gelissen (DHL SSC Maastricht)" userId="1afa8510-4eed-4b73-a29e-678838cd8acd" providerId="ADAL" clId="{B19B2550-6638-4B2A-9975-FD42BA1D712A}" dt="2023-07-06T12:04:48.635" v="70"/>
            <ac:spMkLst>
              <pc:docMk/>
              <pc:sldMasterMk cId="3009645139" sldId="2147483782"/>
              <pc:sldLayoutMk cId="695310547" sldId="2147483842"/>
              <ac:spMk id="3" creationId="{71F4DECD-43BA-3C9F-0DD6-B458D855445B}"/>
            </ac:spMkLst>
          </pc:spChg>
        </pc:sldLayoutChg>
        <pc:sldLayoutChg chg="addSp modSp">
          <pc:chgData name="Hans Gelissen (DHL SSC Maastricht)" userId="1afa8510-4eed-4b73-a29e-678838cd8acd" providerId="ADAL" clId="{B19B2550-6638-4B2A-9975-FD42BA1D712A}" dt="2023-07-06T12:04:49.385" v="72"/>
          <pc:sldLayoutMkLst>
            <pc:docMk/>
            <pc:sldMasterMk cId="3009645139" sldId="2147483782"/>
            <pc:sldLayoutMk cId="604909523" sldId="2147483843"/>
          </pc:sldLayoutMkLst>
          <pc:spChg chg="add mod">
            <ac:chgData name="Hans Gelissen (DHL SSC Maastricht)" userId="1afa8510-4eed-4b73-a29e-678838cd8acd" providerId="ADAL" clId="{B19B2550-6638-4B2A-9975-FD42BA1D712A}" dt="2023-07-06T12:04:49.385" v="72"/>
            <ac:spMkLst>
              <pc:docMk/>
              <pc:sldMasterMk cId="3009645139" sldId="2147483782"/>
              <pc:sldLayoutMk cId="604909523" sldId="2147483843"/>
              <ac:spMk id="3" creationId="{3B2078F7-E95B-11A9-0846-ABEE5A921EB3}"/>
            </ac:spMkLst>
          </pc:spChg>
        </pc:sldLayoutChg>
        <pc:sldLayoutChg chg="addSp modSp">
          <pc:chgData name="Hans Gelissen (DHL SSC Maastricht)" userId="1afa8510-4eed-4b73-a29e-678838cd8acd" providerId="ADAL" clId="{B19B2550-6638-4B2A-9975-FD42BA1D712A}" dt="2023-07-06T12:04:50.748" v="75"/>
          <pc:sldLayoutMkLst>
            <pc:docMk/>
            <pc:sldMasterMk cId="3009645139" sldId="2147483782"/>
            <pc:sldLayoutMk cId="1433277352" sldId="2147483895"/>
          </pc:sldLayoutMkLst>
          <pc:spChg chg="add mod">
            <ac:chgData name="Hans Gelissen (DHL SSC Maastricht)" userId="1afa8510-4eed-4b73-a29e-678838cd8acd" providerId="ADAL" clId="{B19B2550-6638-4B2A-9975-FD42BA1D712A}" dt="2023-07-06T12:04:50.748" v="75"/>
            <ac:spMkLst>
              <pc:docMk/>
              <pc:sldMasterMk cId="3009645139" sldId="2147483782"/>
              <pc:sldLayoutMk cId="1433277352" sldId="2147483895"/>
              <ac:spMk id="3" creationId="{D20DF98D-5D30-334A-19B7-B52F876BD96E}"/>
            </ac:spMkLst>
          </pc:spChg>
        </pc:sldLayoutChg>
        <pc:sldLayoutChg chg="addSp modSp">
          <pc:chgData name="Hans Gelissen (DHL SSC Maastricht)" userId="1afa8510-4eed-4b73-a29e-678838cd8acd" providerId="ADAL" clId="{B19B2550-6638-4B2A-9975-FD42BA1D712A}" dt="2023-07-06T12:04:51.225" v="76"/>
          <pc:sldLayoutMkLst>
            <pc:docMk/>
            <pc:sldMasterMk cId="3009645139" sldId="2147483782"/>
            <pc:sldLayoutMk cId="2068679615" sldId="2147483896"/>
          </pc:sldLayoutMkLst>
          <pc:spChg chg="add mod">
            <ac:chgData name="Hans Gelissen (DHL SSC Maastricht)" userId="1afa8510-4eed-4b73-a29e-678838cd8acd" providerId="ADAL" clId="{B19B2550-6638-4B2A-9975-FD42BA1D712A}" dt="2023-07-06T12:04:51.225" v="76"/>
            <ac:spMkLst>
              <pc:docMk/>
              <pc:sldMasterMk cId="3009645139" sldId="2147483782"/>
              <pc:sldLayoutMk cId="2068679615" sldId="2147483896"/>
              <ac:spMk id="3" creationId="{CE7446A2-5CC8-CAC4-D972-E2D61497713D}"/>
            </ac:spMkLst>
          </pc:spChg>
        </pc:sldLayoutChg>
        <pc:sldLayoutChg chg="addSp modSp">
          <pc:chgData name="Hans Gelissen (DHL SSC Maastricht)" userId="1afa8510-4eed-4b73-a29e-678838cd8acd" providerId="ADAL" clId="{B19B2550-6638-4B2A-9975-FD42BA1D712A}" dt="2023-07-06T12:04:51.693" v="77"/>
          <pc:sldLayoutMkLst>
            <pc:docMk/>
            <pc:sldMasterMk cId="3009645139" sldId="2147483782"/>
            <pc:sldLayoutMk cId="3666955133" sldId="2147483897"/>
          </pc:sldLayoutMkLst>
          <pc:spChg chg="add mod">
            <ac:chgData name="Hans Gelissen (DHL SSC Maastricht)" userId="1afa8510-4eed-4b73-a29e-678838cd8acd" providerId="ADAL" clId="{B19B2550-6638-4B2A-9975-FD42BA1D712A}" dt="2023-07-06T12:04:51.693" v="77"/>
            <ac:spMkLst>
              <pc:docMk/>
              <pc:sldMasterMk cId="3009645139" sldId="2147483782"/>
              <pc:sldLayoutMk cId="3666955133" sldId="2147483897"/>
              <ac:spMk id="3" creationId="{2B0804F7-9199-050D-8AB3-EB9556273FBC}"/>
            </ac:spMkLst>
          </pc:spChg>
        </pc:sldLayoutChg>
        <pc:sldLayoutChg chg="addSp modSp">
          <pc:chgData name="Hans Gelissen (DHL SSC Maastricht)" userId="1afa8510-4eed-4b73-a29e-678838cd8acd" providerId="ADAL" clId="{B19B2550-6638-4B2A-9975-FD42BA1D712A}" dt="2023-07-06T12:04:52.131" v="78"/>
          <pc:sldLayoutMkLst>
            <pc:docMk/>
            <pc:sldMasterMk cId="3009645139" sldId="2147483782"/>
            <pc:sldLayoutMk cId="1897181201" sldId="2147483898"/>
          </pc:sldLayoutMkLst>
          <pc:spChg chg="add mod">
            <ac:chgData name="Hans Gelissen (DHL SSC Maastricht)" userId="1afa8510-4eed-4b73-a29e-678838cd8acd" providerId="ADAL" clId="{B19B2550-6638-4B2A-9975-FD42BA1D712A}" dt="2023-07-06T12:04:52.131" v="78"/>
            <ac:spMkLst>
              <pc:docMk/>
              <pc:sldMasterMk cId="3009645139" sldId="2147483782"/>
              <pc:sldLayoutMk cId="1897181201" sldId="2147483898"/>
              <ac:spMk id="3" creationId="{115826EC-041D-9FEE-D622-E913189B7790}"/>
            </ac:spMkLst>
          </pc:spChg>
        </pc:sldLayoutChg>
        <pc:sldLayoutChg chg="addSp modSp">
          <pc:chgData name="Hans Gelissen (DHL SSC Maastricht)" userId="1afa8510-4eed-4b73-a29e-678838cd8acd" providerId="ADAL" clId="{B19B2550-6638-4B2A-9975-FD42BA1D712A}" dt="2023-07-06T12:04:52.566" v="79"/>
          <pc:sldLayoutMkLst>
            <pc:docMk/>
            <pc:sldMasterMk cId="3009645139" sldId="2147483782"/>
            <pc:sldLayoutMk cId="262418530" sldId="2147483955"/>
          </pc:sldLayoutMkLst>
          <pc:spChg chg="add mod">
            <ac:chgData name="Hans Gelissen (DHL SSC Maastricht)" userId="1afa8510-4eed-4b73-a29e-678838cd8acd" providerId="ADAL" clId="{B19B2550-6638-4B2A-9975-FD42BA1D712A}" dt="2023-07-06T12:04:52.566" v="79"/>
            <ac:spMkLst>
              <pc:docMk/>
              <pc:sldMasterMk cId="3009645139" sldId="2147483782"/>
              <pc:sldLayoutMk cId="262418530" sldId="2147483955"/>
              <ac:spMk id="3" creationId="{EA266BDD-BD5E-2E6F-2327-B19C58381D52}"/>
            </ac:spMkLst>
          </pc:spChg>
        </pc:sldLayoutChg>
        <pc:sldLayoutChg chg="addSp modSp">
          <pc:chgData name="Hans Gelissen (DHL SSC Maastricht)" userId="1afa8510-4eed-4b73-a29e-678838cd8acd" providerId="ADAL" clId="{B19B2550-6638-4B2A-9975-FD42BA1D712A}" dt="2023-07-06T12:04:53.022" v="80"/>
          <pc:sldLayoutMkLst>
            <pc:docMk/>
            <pc:sldMasterMk cId="3009645139" sldId="2147483782"/>
            <pc:sldLayoutMk cId="2338710343" sldId="2147483956"/>
          </pc:sldLayoutMkLst>
          <pc:spChg chg="add mod">
            <ac:chgData name="Hans Gelissen (DHL SSC Maastricht)" userId="1afa8510-4eed-4b73-a29e-678838cd8acd" providerId="ADAL" clId="{B19B2550-6638-4B2A-9975-FD42BA1D712A}" dt="2023-07-06T12:04:53.022" v="80"/>
            <ac:spMkLst>
              <pc:docMk/>
              <pc:sldMasterMk cId="3009645139" sldId="2147483782"/>
              <pc:sldLayoutMk cId="2338710343" sldId="2147483956"/>
              <ac:spMk id="3" creationId="{0C5E427B-4C2D-2838-9538-7000B1C0FE57}"/>
            </ac:spMkLst>
          </pc:spChg>
        </pc:sldLayoutChg>
        <pc:sldLayoutChg chg="addSp modSp">
          <pc:chgData name="Hans Gelissen (DHL SSC Maastricht)" userId="1afa8510-4eed-4b73-a29e-678838cd8acd" providerId="ADAL" clId="{B19B2550-6638-4B2A-9975-FD42BA1D712A}" dt="2023-07-06T12:04:53.456" v="81"/>
          <pc:sldLayoutMkLst>
            <pc:docMk/>
            <pc:sldMasterMk cId="3009645139" sldId="2147483782"/>
            <pc:sldLayoutMk cId="385823197" sldId="2147483957"/>
          </pc:sldLayoutMkLst>
          <pc:spChg chg="add mod">
            <ac:chgData name="Hans Gelissen (DHL SSC Maastricht)" userId="1afa8510-4eed-4b73-a29e-678838cd8acd" providerId="ADAL" clId="{B19B2550-6638-4B2A-9975-FD42BA1D712A}" dt="2023-07-06T12:04:53.456" v="81"/>
            <ac:spMkLst>
              <pc:docMk/>
              <pc:sldMasterMk cId="3009645139" sldId="2147483782"/>
              <pc:sldLayoutMk cId="385823197" sldId="2147483957"/>
              <ac:spMk id="3" creationId="{71634996-0765-F5A0-826D-EEFF54107B0A}"/>
            </ac:spMkLst>
          </pc:spChg>
        </pc:sldLayoutChg>
        <pc:sldLayoutChg chg="addSp modSp">
          <pc:chgData name="Hans Gelissen (DHL SSC Maastricht)" userId="1afa8510-4eed-4b73-a29e-678838cd8acd" providerId="ADAL" clId="{B19B2550-6638-4B2A-9975-FD42BA1D712A}" dt="2023-07-06T12:04:53.924" v="82"/>
          <pc:sldLayoutMkLst>
            <pc:docMk/>
            <pc:sldMasterMk cId="3009645139" sldId="2147483782"/>
            <pc:sldLayoutMk cId="3246149922" sldId="2147483958"/>
          </pc:sldLayoutMkLst>
          <pc:spChg chg="add mod">
            <ac:chgData name="Hans Gelissen (DHL SSC Maastricht)" userId="1afa8510-4eed-4b73-a29e-678838cd8acd" providerId="ADAL" clId="{B19B2550-6638-4B2A-9975-FD42BA1D712A}" dt="2023-07-06T12:04:53.924" v="82"/>
            <ac:spMkLst>
              <pc:docMk/>
              <pc:sldMasterMk cId="3009645139" sldId="2147483782"/>
              <pc:sldLayoutMk cId="3246149922" sldId="2147483958"/>
              <ac:spMk id="3" creationId="{EABD15F1-121D-8409-78B5-3037CC1C9F7A}"/>
            </ac:spMkLst>
          </pc:spChg>
        </pc:sldLayoutChg>
        <pc:sldLayoutChg chg="addSp modSp">
          <pc:chgData name="Hans Gelissen (DHL SSC Maastricht)" userId="1afa8510-4eed-4b73-a29e-678838cd8acd" providerId="ADAL" clId="{B19B2550-6638-4B2A-9975-FD42BA1D712A}" dt="2023-07-06T12:04:54.425" v="83"/>
          <pc:sldLayoutMkLst>
            <pc:docMk/>
            <pc:sldMasterMk cId="3009645139" sldId="2147483782"/>
            <pc:sldLayoutMk cId="3261208622" sldId="2147483959"/>
          </pc:sldLayoutMkLst>
          <pc:spChg chg="add mod">
            <ac:chgData name="Hans Gelissen (DHL SSC Maastricht)" userId="1afa8510-4eed-4b73-a29e-678838cd8acd" providerId="ADAL" clId="{B19B2550-6638-4B2A-9975-FD42BA1D712A}" dt="2023-07-06T12:04:54.425" v="83"/>
            <ac:spMkLst>
              <pc:docMk/>
              <pc:sldMasterMk cId="3009645139" sldId="2147483782"/>
              <pc:sldLayoutMk cId="3261208622" sldId="2147483959"/>
              <ac:spMk id="3" creationId="{949815CA-469D-4483-A81E-EEBD9C25FA53}"/>
            </ac:spMkLst>
          </pc:spChg>
        </pc:sldLayoutChg>
        <pc:sldLayoutChg chg="addSp modSp">
          <pc:chgData name="Hans Gelissen (DHL SSC Maastricht)" userId="1afa8510-4eed-4b73-a29e-678838cd8acd" providerId="ADAL" clId="{B19B2550-6638-4B2A-9975-FD42BA1D712A}" dt="2023-07-06T12:04:54.910" v="84"/>
          <pc:sldLayoutMkLst>
            <pc:docMk/>
            <pc:sldMasterMk cId="3009645139" sldId="2147483782"/>
            <pc:sldLayoutMk cId="271718921" sldId="2147483960"/>
          </pc:sldLayoutMkLst>
          <pc:spChg chg="add mod">
            <ac:chgData name="Hans Gelissen (DHL SSC Maastricht)" userId="1afa8510-4eed-4b73-a29e-678838cd8acd" providerId="ADAL" clId="{B19B2550-6638-4B2A-9975-FD42BA1D712A}" dt="2023-07-06T12:04:54.910" v="84"/>
            <ac:spMkLst>
              <pc:docMk/>
              <pc:sldMasterMk cId="3009645139" sldId="2147483782"/>
              <pc:sldLayoutMk cId="271718921" sldId="2147483960"/>
              <ac:spMk id="3" creationId="{35160F89-BC8D-BD9A-A6F6-E3574C149121}"/>
            </ac:spMkLst>
          </pc:spChg>
        </pc:sldLayoutChg>
        <pc:sldLayoutChg chg="addSp modSp">
          <pc:chgData name="Hans Gelissen (DHL SSC Maastricht)" userId="1afa8510-4eed-4b73-a29e-678838cd8acd" providerId="ADAL" clId="{B19B2550-6638-4B2A-9975-FD42BA1D712A}" dt="2023-07-06T12:04:55.678" v="85"/>
          <pc:sldLayoutMkLst>
            <pc:docMk/>
            <pc:sldMasterMk cId="3009645139" sldId="2147483782"/>
            <pc:sldLayoutMk cId="373419110" sldId="2147483961"/>
          </pc:sldLayoutMkLst>
          <pc:spChg chg="add mod">
            <ac:chgData name="Hans Gelissen (DHL SSC Maastricht)" userId="1afa8510-4eed-4b73-a29e-678838cd8acd" providerId="ADAL" clId="{B19B2550-6638-4B2A-9975-FD42BA1D712A}" dt="2023-07-06T12:04:55.678" v="85"/>
            <ac:spMkLst>
              <pc:docMk/>
              <pc:sldMasterMk cId="3009645139" sldId="2147483782"/>
              <pc:sldLayoutMk cId="373419110" sldId="2147483961"/>
              <ac:spMk id="3" creationId="{DA77035E-FCCC-0DC2-F9CA-C9AC3FA86EF7}"/>
            </ac:spMkLst>
          </pc:spChg>
        </pc:sldLayoutChg>
        <pc:sldLayoutChg chg="addSp modSp">
          <pc:chgData name="Hans Gelissen (DHL SSC Maastricht)" userId="1afa8510-4eed-4b73-a29e-678838cd8acd" providerId="ADAL" clId="{B19B2550-6638-4B2A-9975-FD42BA1D712A}" dt="2023-07-06T12:04:56.325" v="86"/>
          <pc:sldLayoutMkLst>
            <pc:docMk/>
            <pc:sldMasterMk cId="3009645139" sldId="2147483782"/>
            <pc:sldLayoutMk cId="413288453" sldId="2147483962"/>
          </pc:sldLayoutMkLst>
          <pc:spChg chg="add mod">
            <ac:chgData name="Hans Gelissen (DHL SSC Maastricht)" userId="1afa8510-4eed-4b73-a29e-678838cd8acd" providerId="ADAL" clId="{B19B2550-6638-4B2A-9975-FD42BA1D712A}" dt="2023-07-06T12:04:56.325" v="86"/>
            <ac:spMkLst>
              <pc:docMk/>
              <pc:sldMasterMk cId="3009645139" sldId="2147483782"/>
              <pc:sldLayoutMk cId="413288453" sldId="2147483962"/>
              <ac:spMk id="3" creationId="{AA70DA8E-7663-6A65-63F6-406F3A172811}"/>
            </ac:spMkLst>
          </pc:spChg>
        </pc:sldLayoutChg>
      </pc:sldMasterChg>
      <pc:sldMasterChg chg="addSp modSp modSldLayout">
        <pc:chgData name="Hans Gelissen (DHL SSC Maastricht)" userId="1afa8510-4eed-4b73-a29e-678838cd8acd" providerId="ADAL" clId="{B19B2550-6638-4B2A-9975-FD42BA1D712A}" dt="2023-07-06T12:05:42.165" v="131"/>
        <pc:sldMasterMkLst>
          <pc:docMk/>
          <pc:sldMasterMk cId="1560827226" sldId="2147483789"/>
        </pc:sldMasterMkLst>
        <pc:spChg chg="add mod">
          <ac:chgData name="Hans Gelissen (DHL SSC Maastricht)" userId="1afa8510-4eed-4b73-a29e-678838cd8acd" providerId="ADAL" clId="{B19B2550-6638-4B2A-9975-FD42BA1D712A}" dt="2023-07-06T12:03:11.622" v="10"/>
          <ac:spMkLst>
            <pc:docMk/>
            <pc:sldMasterMk cId="1560827226" sldId="2147483789"/>
            <ac:spMk id="2" creationId="{8DE7BE2C-1D6E-4105-6186-DC204AAE6FC8}"/>
          </ac:spMkLst>
        </pc:spChg>
        <pc:sldLayoutChg chg="addSp modSp">
          <pc:chgData name="Hans Gelissen (DHL SSC Maastricht)" userId="1afa8510-4eed-4b73-a29e-678838cd8acd" providerId="ADAL" clId="{B19B2550-6638-4B2A-9975-FD42BA1D712A}" dt="2023-07-06T12:05:31.662" v="112"/>
          <pc:sldLayoutMkLst>
            <pc:docMk/>
            <pc:sldMasterMk cId="1560827226" sldId="2147483789"/>
            <pc:sldLayoutMk cId="1929487974" sldId="2147483748"/>
          </pc:sldLayoutMkLst>
          <pc:spChg chg="add mod">
            <ac:chgData name="Hans Gelissen (DHL SSC Maastricht)" userId="1afa8510-4eed-4b73-a29e-678838cd8acd" providerId="ADAL" clId="{B19B2550-6638-4B2A-9975-FD42BA1D712A}" dt="2023-07-06T12:05:31.662" v="112"/>
            <ac:spMkLst>
              <pc:docMk/>
              <pc:sldMasterMk cId="1560827226" sldId="2147483789"/>
              <pc:sldLayoutMk cId="1929487974" sldId="2147483748"/>
              <ac:spMk id="3" creationId="{6448B2D6-C0E2-A201-C38A-72969377957E}"/>
            </ac:spMkLst>
          </pc:spChg>
        </pc:sldLayoutChg>
        <pc:sldLayoutChg chg="addSp modSp">
          <pc:chgData name="Hans Gelissen (DHL SSC Maastricht)" userId="1afa8510-4eed-4b73-a29e-678838cd8acd" providerId="ADAL" clId="{B19B2550-6638-4B2A-9975-FD42BA1D712A}" dt="2023-07-06T12:05:32.147" v="113"/>
          <pc:sldLayoutMkLst>
            <pc:docMk/>
            <pc:sldMasterMk cId="1560827226" sldId="2147483789"/>
            <pc:sldLayoutMk cId="3112511369" sldId="2147483808"/>
          </pc:sldLayoutMkLst>
          <pc:spChg chg="add mod">
            <ac:chgData name="Hans Gelissen (DHL SSC Maastricht)" userId="1afa8510-4eed-4b73-a29e-678838cd8acd" providerId="ADAL" clId="{B19B2550-6638-4B2A-9975-FD42BA1D712A}" dt="2023-07-06T12:05:32.147" v="113"/>
            <ac:spMkLst>
              <pc:docMk/>
              <pc:sldMasterMk cId="1560827226" sldId="2147483789"/>
              <pc:sldLayoutMk cId="3112511369" sldId="2147483808"/>
              <ac:spMk id="3" creationId="{0D27DDAE-9F94-70B1-551C-75978D6FBFDE}"/>
            </ac:spMkLst>
          </pc:spChg>
        </pc:sldLayoutChg>
        <pc:sldLayoutChg chg="addSp modSp">
          <pc:chgData name="Hans Gelissen (DHL SSC Maastricht)" userId="1afa8510-4eed-4b73-a29e-678838cd8acd" providerId="ADAL" clId="{B19B2550-6638-4B2A-9975-FD42BA1D712A}" dt="2023-07-06T12:05:32.588" v="114"/>
          <pc:sldLayoutMkLst>
            <pc:docMk/>
            <pc:sldMasterMk cId="1560827226" sldId="2147483789"/>
            <pc:sldLayoutMk cId="2973508890" sldId="2147483809"/>
          </pc:sldLayoutMkLst>
          <pc:spChg chg="add mod">
            <ac:chgData name="Hans Gelissen (DHL SSC Maastricht)" userId="1afa8510-4eed-4b73-a29e-678838cd8acd" providerId="ADAL" clId="{B19B2550-6638-4B2A-9975-FD42BA1D712A}" dt="2023-07-06T12:05:32.588" v="114"/>
            <ac:spMkLst>
              <pc:docMk/>
              <pc:sldMasterMk cId="1560827226" sldId="2147483789"/>
              <pc:sldLayoutMk cId="2973508890" sldId="2147483809"/>
              <ac:spMk id="3" creationId="{0CDE7BFE-BC2F-A677-B001-C77154A2CC70}"/>
            </ac:spMkLst>
          </pc:spChg>
        </pc:sldLayoutChg>
        <pc:sldLayoutChg chg="addSp modSp">
          <pc:chgData name="Hans Gelissen (DHL SSC Maastricht)" userId="1afa8510-4eed-4b73-a29e-678838cd8acd" providerId="ADAL" clId="{B19B2550-6638-4B2A-9975-FD42BA1D712A}" dt="2023-07-06T12:05:42.165" v="131"/>
          <pc:sldLayoutMkLst>
            <pc:docMk/>
            <pc:sldMasterMk cId="1560827226" sldId="2147483789"/>
            <pc:sldLayoutMk cId="1933999975" sldId="2147483810"/>
          </pc:sldLayoutMkLst>
          <pc:spChg chg="add mod">
            <ac:chgData name="Hans Gelissen (DHL SSC Maastricht)" userId="1afa8510-4eed-4b73-a29e-678838cd8acd" providerId="ADAL" clId="{B19B2550-6638-4B2A-9975-FD42BA1D712A}" dt="2023-07-06T12:05:42.165" v="131"/>
            <ac:spMkLst>
              <pc:docMk/>
              <pc:sldMasterMk cId="1560827226" sldId="2147483789"/>
              <pc:sldLayoutMk cId="1933999975" sldId="2147483810"/>
              <ac:spMk id="3" creationId="{14BD9077-1269-5F18-7CF2-27E783033F31}"/>
            </ac:spMkLst>
          </pc:spChg>
        </pc:sldLayoutChg>
        <pc:sldLayoutChg chg="addSp modSp">
          <pc:chgData name="Hans Gelissen (DHL SSC Maastricht)" userId="1afa8510-4eed-4b73-a29e-678838cd8acd" providerId="ADAL" clId="{B19B2550-6638-4B2A-9975-FD42BA1D712A}" dt="2023-07-06T12:05:33.529" v="116"/>
          <pc:sldLayoutMkLst>
            <pc:docMk/>
            <pc:sldMasterMk cId="1560827226" sldId="2147483789"/>
            <pc:sldLayoutMk cId="744637158" sldId="2147483853"/>
          </pc:sldLayoutMkLst>
          <pc:spChg chg="add mod">
            <ac:chgData name="Hans Gelissen (DHL SSC Maastricht)" userId="1afa8510-4eed-4b73-a29e-678838cd8acd" providerId="ADAL" clId="{B19B2550-6638-4B2A-9975-FD42BA1D712A}" dt="2023-07-06T12:05:33.529" v="116"/>
            <ac:spMkLst>
              <pc:docMk/>
              <pc:sldMasterMk cId="1560827226" sldId="2147483789"/>
              <pc:sldLayoutMk cId="744637158" sldId="2147483853"/>
              <ac:spMk id="3" creationId="{AF016E71-3E9C-CDE3-4ADF-9E520C4DBCC0}"/>
            </ac:spMkLst>
          </pc:spChg>
        </pc:sldLayoutChg>
        <pc:sldLayoutChg chg="addSp modSp">
          <pc:chgData name="Hans Gelissen (DHL SSC Maastricht)" userId="1afa8510-4eed-4b73-a29e-678838cd8acd" providerId="ADAL" clId="{B19B2550-6638-4B2A-9975-FD42BA1D712A}" dt="2023-07-06T12:05:33.956" v="117"/>
          <pc:sldLayoutMkLst>
            <pc:docMk/>
            <pc:sldMasterMk cId="1560827226" sldId="2147483789"/>
            <pc:sldLayoutMk cId="912269737" sldId="2147483854"/>
          </pc:sldLayoutMkLst>
          <pc:spChg chg="add mod">
            <ac:chgData name="Hans Gelissen (DHL SSC Maastricht)" userId="1afa8510-4eed-4b73-a29e-678838cd8acd" providerId="ADAL" clId="{B19B2550-6638-4B2A-9975-FD42BA1D712A}" dt="2023-07-06T12:05:33.956" v="117"/>
            <ac:spMkLst>
              <pc:docMk/>
              <pc:sldMasterMk cId="1560827226" sldId="2147483789"/>
              <pc:sldLayoutMk cId="912269737" sldId="2147483854"/>
              <ac:spMk id="3" creationId="{2157C280-730C-5D20-0982-617F95FD16A9}"/>
            </ac:spMkLst>
          </pc:spChg>
        </pc:sldLayoutChg>
        <pc:sldLayoutChg chg="addSp modSp">
          <pc:chgData name="Hans Gelissen (DHL SSC Maastricht)" userId="1afa8510-4eed-4b73-a29e-678838cd8acd" providerId="ADAL" clId="{B19B2550-6638-4B2A-9975-FD42BA1D712A}" dt="2023-07-06T12:05:34.749" v="118"/>
          <pc:sldLayoutMkLst>
            <pc:docMk/>
            <pc:sldMasterMk cId="1560827226" sldId="2147483789"/>
            <pc:sldLayoutMk cId="3259315673" sldId="2147483855"/>
          </pc:sldLayoutMkLst>
          <pc:spChg chg="add mod">
            <ac:chgData name="Hans Gelissen (DHL SSC Maastricht)" userId="1afa8510-4eed-4b73-a29e-678838cd8acd" providerId="ADAL" clId="{B19B2550-6638-4B2A-9975-FD42BA1D712A}" dt="2023-07-06T12:05:34.749" v="118"/>
            <ac:spMkLst>
              <pc:docMk/>
              <pc:sldMasterMk cId="1560827226" sldId="2147483789"/>
              <pc:sldLayoutMk cId="3259315673" sldId="2147483855"/>
              <ac:spMk id="3" creationId="{0748BF74-2063-939C-0440-A479339089E9}"/>
            </ac:spMkLst>
          </pc:spChg>
        </pc:sldLayoutChg>
        <pc:sldLayoutChg chg="addSp modSp">
          <pc:chgData name="Hans Gelissen (DHL SSC Maastricht)" userId="1afa8510-4eed-4b73-a29e-678838cd8acd" providerId="ADAL" clId="{B19B2550-6638-4B2A-9975-FD42BA1D712A}" dt="2023-07-06T12:05:33.084" v="115"/>
          <pc:sldLayoutMkLst>
            <pc:docMk/>
            <pc:sldMasterMk cId="1560827226" sldId="2147483789"/>
            <pc:sldLayoutMk cId="133451210" sldId="2147483856"/>
          </pc:sldLayoutMkLst>
          <pc:spChg chg="add mod">
            <ac:chgData name="Hans Gelissen (DHL SSC Maastricht)" userId="1afa8510-4eed-4b73-a29e-678838cd8acd" providerId="ADAL" clId="{B19B2550-6638-4B2A-9975-FD42BA1D712A}" dt="2023-07-06T12:05:33.084" v="115"/>
            <ac:spMkLst>
              <pc:docMk/>
              <pc:sldMasterMk cId="1560827226" sldId="2147483789"/>
              <pc:sldLayoutMk cId="133451210" sldId="2147483856"/>
              <ac:spMk id="3" creationId="{B4BE1DE7-3FE4-A3C5-C976-7E168F28E8AE}"/>
            </ac:spMkLst>
          </pc:spChg>
        </pc:sldLayoutChg>
        <pc:sldLayoutChg chg="addSp modSp">
          <pc:chgData name="Hans Gelissen (DHL SSC Maastricht)" userId="1afa8510-4eed-4b73-a29e-678838cd8acd" providerId="ADAL" clId="{B19B2550-6638-4B2A-9975-FD42BA1D712A}" dt="2023-07-06T12:05:35.580" v="119"/>
          <pc:sldLayoutMkLst>
            <pc:docMk/>
            <pc:sldMasterMk cId="1560827226" sldId="2147483789"/>
            <pc:sldLayoutMk cId="2456586523" sldId="2147483905"/>
          </pc:sldLayoutMkLst>
          <pc:spChg chg="add mod">
            <ac:chgData name="Hans Gelissen (DHL SSC Maastricht)" userId="1afa8510-4eed-4b73-a29e-678838cd8acd" providerId="ADAL" clId="{B19B2550-6638-4B2A-9975-FD42BA1D712A}" dt="2023-07-06T12:05:35.580" v="119"/>
            <ac:spMkLst>
              <pc:docMk/>
              <pc:sldMasterMk cId="1560827226" sldId="2147483789"/>
              <pc:sldLayoutMk cId="2456586523" sldId="2147483905"/>
              <ac:spMk id="3" creationId="{8D3A5C38-8578-C4D9-9FF4-746B8CE0CD46}"/>
            </ac:spMkLst>
          </pc:spChg>
        </pc:sldLayoutChg>
        <pc:sldLayoutChg chg="addSp modSp">
          <pc:chgData name="Hans Gelissen (DHL SSC Maastricht)" userId="1afa8510-4eed-4b73-a29e-678838cd8acd" providerId="ADAL" clId="{B19B2550-6638-4B2A-9975-FD42BA1D712A}" dt="2023-07-06T12:05:36.092" v="120"/>
          <pc:sldLayoutMkLst>
            <pc:docMk/>
            <pc:sldMasterMk cId="1560827226" sldId="2147483789"/>
            <pc:sldLayoutMk cId="3206099427" sldId="2147483906"/>
          </pc:sldLayoutMkLst>
          <pc:spChg chg="add mod">
            <ac:chgData name="Hans Gelissen (DHL SSC Maastricht)" userId="1afa8510-4eed-4b73-a29e-678838cd8acd" providerId="ADAL" clId="{B19B2550-6638-4B2A-9975-FD42BA1D712A}" dt="2023-07-06T12:05:36.092" v="120"/>
            <ac:spMkLst>
              <pc:docMk/>
              <pc:sldMasterMk cId="1560827226" sldId="2147483789"/>
              <pc:sldLayoutMk cId="3206099427" sldId="2147483906"/>
              <ac:spMk id="3" creationId="{5D7B2510-AE7E-C8BC-A823-02B0537D903C}"/>
            </ac:spMkLst>
          </pc:spChg>
        </pc:sldLayoutChg>
        <pc:sldLayoutChg chg="addSp modSp">
          <pc:chgData name="Hans Gelissen (DHL SSC Maastricht)" userId="1afa8510-4eed-4b73-a29e-678838cd8acd" providerId="ADAL" clId="{B19B2550-6638-4B2A-9975-FD42BA1D712A}" dt="2023-07-06T12:05:36.566" v="121"/>
          <pc:sldLayoutMkLst>
            <pc:docMk/>
            <pc:sldMasterMk cId="1560827226" sldId="2147483789"/>
            <pc:sldLayoutMk cId="4204909159" sldId="2147483907"/>
          </pc:sldLayoutMkLst>
          <pc:spChg chg="add mod">
            <ac:chgData name="Hans Gelissen (DHL SSC Maastricht)" userId="1afa8510-4eed-4b73-a29e-678838cd8acd" providerId="ADAL" clId="{B19B2550-6638-4B2A-9975-FD42BA1D712A}" dt="2023-07-06T12:05:36.566" v="121"/>
            <ac:spMkLst>
              <pc:docMk/>
              <pc:sldMasterMk cId="1560827226" sldId="2147483789"/>
              <pc:sldLayoutMk cId="4204909159" sldId="2147483907"/>
              <ac:spMk id="3" creationId="{5792BAF5-8700-41EB-C36C-313909E87D95}"/>
            </ac:spMkLst>
          </pc:spChg>
        </pc:sldLayoutChg>
        <pc:sldLayoutChg chg="addSp modSp">
          <pc:chgData name="Hans Gelissen (DHL SSC Maastricht)" userId="1afa8510-4eed-4b73-a29e-678838cd8acd" providerId="ADAL" clId="{B19B2550-6638-4B2A-9975-FD42BA1D712A}" dt="2023-07-06T12:05:37.053" v="122"/>
          <pc:sldLayoutMkLst>
            <pc:docMk/>
            <pc:sldMasterMk cId="1560827226" sldId="2147483789"/>
            <pc:sldLayoutMk cId="1584122736" sldId="2147483908"/>
          </pc:sldLayoutMkLst>
          <pc:spChg chg="add mod">
            <ac:chgData name="Hans Gelissen (DHL SSC Maastricht)" userId="1afa8510-4eed-4b73-a29e-678838cd8acd" providerId="ADAL" clId="{B19B2550-6638-4B2A-9975-FD42BA1D712A}" dt="2023-07-06T12:05:37.053" v="122"/>
            <ac:spMkLst>
              <pc:docMk/>
              <pc:sldMasterMk cId="1560827226" sldId="2147483789"/>
              <pc:sldLayoutMk cId="1584122736" sldId="2147483908"/>
              <ac:spMk id="3" creationId="{134AA60E-6173-AA41-D4D7-D613E81DC2BD}"/>
            </ac:spMkLst>
          </pc:spChg>
        </pc:sldLayoutChg>
        <pc:sldLayoutChg chg="addSp modSp">
          <pc:chgData name="Hans Gelissen (DHL SSC Maastricht)" userId="1afa8510-4eed-4b73-a29e-678838cd8acd" providerId="ADAL" clId="{B19B2550-6638-4B2A-9975-FD42BA1D712A}" dt="2023-07-06T12:05:37.577" v="123"/>
          <pc:sldLayoutMkLst>
            <pc:docMk/>
            <pc:sldMasterMk cId="1560827226" sldId="2147483789"/>
            <pc:sldLayoutMk cId="1787164114" sldId="2147483989"/>
          </pc:sldLayoutMkLst>
          <pc:spChg chg="add mod">
            <ac:chgData name="Hans Gelissen (DHL SSC Maastricht)" userId="1afa8510-4eed-4b73-a29e-678838cd8acd" providerId="ADAL" clId="{B19B2550-6638-4B2A-9975-FD42BA1D712A}" dt="2023-07-06T12:05:37.577" v="123"/>
            <ac:spMkLst>
              <pc:docMk/>
              <pc:sldMasterMk cId="1560827226" sldId="2147483789"/>
              <pc:sldLayoutMk cId="1787164114" sldId="2147483989"/>
              <ac:spMk id="3" creationId="{A4B466B3-7A0F-3E97-89A0-706EE36887BF}"/>
            </ac:spMkLst>
          </pc:spChg>
        </pc:sldLayoutChg>
        <pc:sldLayoutChg chg="addSp modSp">
          <pc:chgData name="Hans Gelissen (DHL SSC Maastricht)" userId="1afa8510-4eed-4b73-a29e-678838cd8acd" providerId="ADAL" clId="{B19B2550-6638-4B2A-9975-FD42BA1D712A}" dt="2023-07-06T12:05:38.140" v="124"/>
          <pc:sldLayoutMkLst>
            <pc:docMk/>
            <pc:sldMasterMk cId="1560827226" sldId="2147483789"/>
            <pc:sldLayoutMk cId="243815297" sldId="2147483990"/>
          </pc:sldLayoutMkLst>
          <pc:spChg chg="add mod">
            <ac:chgData name="Hans Gelissen (DHL SSC Maastricht)" userId="1afa8510-4eed-4b73-a29e-678838cd8acd" providerId="ADAL" clId="{B19B2550-6638-4B2A-9975-FD42BA1D712A}" dt="2023-07-06T12:05:38.140" v="124"/>
            <ac:spMkLst>
              <pc:docMk/>
              <pc:sldMasterMk cId="1560827226" sldId="2147483789"/>
              <pc:sldLayoutMk cId="243815297" sldId="2147483990"/>
              <ac:spMk id="3" creationId="{E77AA62C-C3DD-9A07-AEA6-0D05343C5D23}"/>
            </ac:spMkLst>
          </pc:spChg>
        </pc:sldLayoutChg>
        <pc:sldLayoutChg chg="addSp modSp">
          <pc:chgData name="Hans Gelissen (DHL SSC Maastricht)" userId="1afa8510-4eed-4b73-a29e-678838cd8acd" providerId="ADAL" clId="{B19B2550-6638-4B2A-9975-FD42BA1D712A}" dt="2023-07-06T12:05:38.660" v="125"/>
          <pc:sldLayoutMkLst>
            <pc:docMk/>
            <pc:sldMasterMk cId="1560827226" sldId="2147483789"/>
            <pc:sldLayoutMk cId="719341732" sldId="2147483991"/>
          </pc:sldLayoutMkLst>
          <pc:spChg chg="add mod">
            <ac:chgData name="Hans Gelissen (DHL SSC Maastricht)" userId="1afa8510-4eed-4b73-a29e-678838cd8acd" providerId="ADAL" clId="{B19B2550-6638-4B2A-9975-FD42BA1D712A}" dt="2023-07-06T12:05:38.660" v="125"/>
            <ac:spMkLst>
              <pc:docMk/>
              <pc:sldMasterMk cId="1560827226" sldId="2147483789"/>
              <pc:sldLayoutMk cId="719341732" sldId="2147483991"/>
              <ac:spMk id="3" creationId="{AB82F8D4-3BFE-1BF0-7EA9-1C5057D7150B}"/>
            </ac:spMkLst>
          </pc:spChg>
        </pc:sldLayoutChg>
        <pc:sldLayoutChg chg="addSp modSp">
          <pc:chgData name="Hans Gelissen (DHL SSC Maastricht)" userId="1afa8510-4eed-4b73-a29e-678838cd8acd" providerId="ADAL" clId="{B19B2550-6638-4B2A-9975-FD42BA1D712A}" dt="2023-07-06T12:05:39.274" v="126"/>
          <pc:sldLayoutMkLst>
            <pc:docMk/>
            <pc:sldMasterMk cId="1560827226" sldId="2147483789"/>
            <pc:sldLayoutMk cId="74415229" sldId="2147483992"/>
          </pc:sldLayoutMkLst>
          <pc:spChg chg="add mod">
            <ac:chgData name="Hans Gelissen (DHL SSC Maastricht)" userId="1afa8510-4eed-4b73-a29e-678838cd8acd" providerId="ADAL" clId="{B19B2550-6638-4B2A-9975-FD42BA1D712A}" dt="2023-07-06T12:05:39.274" v="126"/>
            <ac:spMkLst>
              <pc:docMk/>
              <pc:sldMasterMk cId="1560827226" sldId="2147483789"/>
              <pc:sldLayoutMk cId="74415229" sldId="2147483992"/>
              <ac:spMk id="3" creationId="{C488C9CF-8C9A-3611-6233-3351F41EDA16}"/>
            </ac:spMkLst>
          </pc:spChg>
        </pc:sldLayoutChg>
        <pc:sldLayoutChg chg="addSp modSp">
          <pc:chgData name="Hans Gelissen (DHL SSC Maastricht)" userId="1afa8510-4eed-4b73-a29e-678838cd8acd" providerId="ADAL" clId="{B19B2550-6638-4B2A-9975-FD42BA1D712A}" dt="2023-07-06T12:05:40.333" v="128"/>
          <pc:sldLayoutMkLst>
            <pc:docMk/>
            <pc:sldMasterMk cId="1560827226" sldId="2147483789"/>
            <pc:sldLayoutMk cId="2411693142" sldId="2147483993"/>
          </pc:sldLayoutMkLst>
          <pc:spChg chg="add mod">
            <ac:chgData name="Hans Gelissen (DHL SSC Maastricht)" userId="1afa8510-4eed-4b73-a29e-678838cd8acd" providerId="ADAL" clId="{B19B2550-6638-4B2A-9975-FD42BA1D712A}" dt="2023-07-06T12:05:40.333" v="128"/>
            <ac:spMkLst>
              <pc:docMk/>
              <pc:sldMasterMk cId="1560827226" sldId="2147483789"/>
              <pc:sldLayoutMk cId="2411693142" sldId="2147483993"/>
              <ac:spMk id="3" creationId="{EBE05F1D-3C08-7378-CBCE-829A11336A15}"/>
            </ac:spMkLst>
          </pc:spChg>
        </pc:sldLayoutChg>
        <pc:sldLayoutChg chg="addSp modSp">
          <pc:chgData name="Hans Gelissen (DHL SSC Maastricht)" userId="1afa8510-4eed-4b73-a29e-678838cd8acd" providerId="ADAL" clId="{B19B2550-6638-4B2A-9975-FD42BA1D712A}" dt="2023-07-06T12:05:40.870" v="129"/>
          <pc:sldLayoutMkLst>
            <pc:docMk/>
            <pc:sldMasterMk cId="1560827226" sldId="2147483789"/>
            <pc:sldLayoutMk cId="4286881312" sldId="2147483994"/>
          </pc:sldLayoutMkLst>
          <pc:spChg chg="add mod">
            <ac:chgData name="Hans Gelissen (DHL SSC Maastricht)" userId="1afa8510-4eed-4b73-a29e-678838cd8acd" providerId="ADAL" clId="{B19B2550-6638-4B2A-9975-FD42BA1D712A}" dt="2023-07-06T12:05:40.870" v="129"/>
            <ac:spMkLst>
              <pc:docMk/>
              <pc:sldMasterMk cId="1560827226" sldId="2147483789"/>
              <pc:sldLayoutMk cId="4286881312" sldId="2147483994"/>
              <ac:spMk id="3" creationId="{2F8246E1-D2A4-0F23-3426-BDE379917A14}"/>
            </ac:spMkLst>
          </pc:spChg>
        </pc:sldLayoutChg>
        <pc:sldLayoutChg chg="addSp modSp">
          <pc:chgData name="Hans Gelissen (DHL SSC Maastricht)" userId="1afa8510-4eed-4b73-a29e-678838cd8acd" providerId="ADAL" clId="{B19B2550-6638-4B2A-9975-FD42BA1D712A}" dt="2023-07-06T12:05:41.438" v="130"/>
          <pc:sldLayoutMkLst>
            <pc:docMk/>
            <pc:sldMasterMk cId="1560827226" sldId="2147483789"/>
            <pc:sldLayoutMk cId="463531548" sldId="2147483995"/>
          </pc:sldLayoutMkLst>
          <pc:spChg chg="add mod">
            <ac:chgData name="Hans Gelissen (DHL SSC Maastricht)" userId="1afa8510-4eed-4b73-a29e-678838cd8acd" providerId="ADAL" clId="{B19B2550-6638-4B2A-9975-FD42BA1D712A}" dt="2023-07-06T12:05:41.438" v="130"/>
            <ac:spMkLst>
              <pc:docMk/>
              <pc:sldMasterMk cId="1560827226" sldId="2147483789"/>
              <pc:sldLayoutMk cId="463531548" sldId="2147483995"/>
              <ac:spMk id="3" creationId="{392DD26A-226B-FE67-1461-2D84E5786DD9}"/>
            </ac:spMkLst>
          </pc:spChg>
        </pc:sldLayoutChg>
        <pc:sldLayoutChg chg="addSp modSp">
          <pc:chgData name="Hans Gelissen (DHL SSC Maastricht)" userId="1afa8510-4eed-4b73-a29e-678838cd8acd" providerId="ADAL" clId="{B19B2550-6638-4B2A-9975-FD42BA1D712A}" dt="2023-07-06T12:05:39.835" v="127"/>
          <pc:sldLayoutMkLst>
            <pc:docMk/>
            <pc:sldMasterMk cId="1560827226" sldId="2147483789"/>
            <pc:sldLayoutMk cId="520838339" sldId="2147483996"/>
          </pc:sldLayoutMkLst>
          <pc:spChg chg="add mod">
            <ac:chgData name="Hans Gelissen (DHL SSC Maastricht)" userId="1afa8510-4eed-4b73-a29e-678838cd8acd" providerId="ADAL" clId="{B19B2550-6638-4B2A-9975-FD42BA1D712A}" dt="2023-07-06T12:05:39.835" v="127"/>
            <ac:spMkLst>
              <pc:docMk/>
              <pc:sldMasterMk cId="1560827226" sldId="2147483789"/>
              <pc:sldLayoutMk cId="520838339" sldId="2147483996"/>
              <ac:spMk id="3" creationId="{EC2256C4-875B-8A61-946C-A4E491722DBE}"/>
            </ac:spMkLst>
          </pc:spChg>
        </pc:sldLayoutChg>
      </pc:sldMasterChg>
      <pc:sldMasterChg chg="addSp modSp modSldLayout">
        <pc:chgData name="Hans Gelissen (DHL SSC Maastricht)" userId="1afa8510-4eed-4b73-a29e-678838cd8acd" providerId="ADAL" clId="{B19B2550-6638-4B2A-9975-FD42BA1D712A}" dt="2023-07-06T12:05:29.350" v="111"/>
        <pc:sldMasterMkLst>
          <pc:docMk/>
          <pc:sldMasterMk cId="1369645148" sldId="2147483790"/>
        </pc:sldMasterMkLst>
        <pc:spChg chg="add mod">
          <ac:chgData name="Hans Gelissen (DHL SSC Maastricht)" userId="1afa8510-4eed-4b73-a29e-678838cd8acd" providerId="ADAL" clId="{B19B2550-6638-4B2A-9975-FD42BA1D712A}" dt="2023-07-06T12:03:08.596" v="9"/>
          <ac:spMkLst>
            <pc:docMk/>
            <pc:sldMasterMk cId="1369645148" sldId="2147483790"/>
            <ac:spMk id="2" creationId="{430F1D4F-83C0-230B-CF00-12B2EC4F56B4}"/>
          </ac:spMkLst>
        </pc:spChg>
        <pc:sldLayoutChg chg="addSp delSp modSp">
          <pc:chgData name="Hans Gelissen (DHL SSC Maastricht)" userId="1afa8510-4eed-4b73-a29e-678838cd8acd" providerId="ADAL" clId="{B19B2550-6638-4B2A-9975-FD42BA1D712A}" dt="2023-07-06T12:05:14.006" v="92"/>
          <pc:sldLayoutMkLst>
            <pc:docMk/>
            <pc:sldMasterMk cId="1369645148" sldId="2147483790"/>
            <pc:sldLayoutMk cId="3969535793" sldId="2147483785"/>
          </pc:sldLayoutMkLst>
          <pc:spChg chg="add del mod">
            <ac:chgData name="Hans Gelissen (DHL SSC Maastricht)" userId="1afa8510-4eed-4b73-a29e-678838cd8acd" providerId="ADAL" clId="{B19B2550-6638-4B2A-9975-FD42BA1D712A}" dt="2023-07-06T12:05:04.452" v="89"/>
            <ac:spMkLst>
              <pc:docMk/>
              <pc:sldMasterMk cId="1369645148" sldId="2147483790"/>
              <pc:sldLayoutMk cId="3969535793" sldId="2147483785"/>
              <ac:spMk id="3" creationId="{4D39804B-8C9E-BFF7-8FCF-909D24948A9A}"/>
            </ac:spMkLst>
          </pc:spChg>
          <pc:spChg chg="add mod">
            <ac:chgData name="Hans Gelissen (DHL SSC Maastricht)" userId="1afa8510-4eed-4b73-a29e-678838cd8acd" providerId="ADAL" clId="{B19B2550-6638-4B2A-9975-FD42BA1D712A}" dt="2023-07-06T12:05:14.006" v="92"/>
            <ac:spMkLst>
              <pc:docMk/>
              <pc:sldMasterMk cId="1369645148" sldId="2147483790"/>
              <pc:sldLayoutMk cId="3969535793" sldId="2147483785"/>
              <ac:spMk id="4" creationId="{BD45D2D3-98D7-3DA9-DB56-D0809DCF7EC6}"/>
            </ac:spMkLst>
          </pc:spChg>
        </pc:sldLayoutChg>
        <pc:sldLayoutChg chg="addSp modSp">
          <pc:chgData name="Hans Gelissen (DHL SSC Maastricht)" userId="1afa8510-4eed-4b73-a29e-678838cd8acd" providerId="ADAL" clId="{B19B2550-6638-4B2A-9975-FD42BA1D712A}" dt="2023-07-06T12:05:16.326" v="93"/>
          <pc:sldLayoutMkLst>
            <pc:docMk/>
            <pc:sldMasterMk cId="1369645148" sldId="2147483790"/>
            <pc:sldLayoutMk cId="4265294671" sldId="2147483805"/>
          </pc:sldLayoutMkLst>
          <pc:spChg chg="add mod">
            <ac:chgData name="Hans Gelissen (DHL SSC Maastricht)" userId="1afa8510-4eed-4b73-a29e-678838cd8acd" providerId="ADAL" clId="{B19B2550-6638-4B2A-9975-FD42BA1D712A}" dt="2023-07-06T12:05:16.326" v="93"/>
            <ac:spMkLst>
              <pc:docMk/>
              <pc:sldMasterMk cId="1369645148" sldId="2147483790"/>
              <pc:sldLayoutMk cId="4265294671" sldId="2147483805"/>
              <ac:spMk id="3" creationId="{ABDBA153-4B26-6DEA-0A3E-0CFDF99C54DA}"/>
            </ac:spMkLst>
          </pc:spChg>
        </pc:sldLayoutChg>
        <pc:sldLayoutChg chg="addSp modSp">
          <pc:chgData name="Hans Gelissen (DHL SSC Maastricht)" userId="1afa8510-4eed-4b73-a29e-678838cd8acd" providerId="ADAL" clId="{B19B2550-6638-4B2A-9975-FD42BA1D712A}" dt="2023-07-06T12:05:17.334" v="94"/>
          <pc:sldLayoutMkLst>
            <pc:docMk/>
            <pc:sldMasterMk cId="1369645148" sldId="2147483790"/>
            <pc:sldLayoutMk cId="1207693144" sldId="2147483806"/>
          </pc:sldLayoutMkLst>
          <pc:spChg chg="add mod">
            <ac:chgData name="Hans Gelissen (DHL SSC Maastricht)" userId="1afa8510-4eed-4b73-a29e-678838cd8acd" providerId="ADAL" clId="{B19B2550-6638-4B2A-9975-FD42BA1D712A}" dt="2023-07-06T12:05:17.334" v="94"/>
            <ac:spMkLst>
              <pc:docMk/>
              <pc:sldMasterMk cId="1369645148" sldId="2147483790"/>
              <pc:sldLayoutMk cId="1207693144" sldId="2147483806"/>
              <ac:spMk id="3" creationId="{565A5B2C-4684-B6E2-B6A6-35DE402EBEE6}"/>
            </ac:spMkLst>
          </pc:spChg>
        </pc:sldLayoutChg>
        <pc:sldLayoutChg chg="addSp modSp">
          <pc:chgData name="Hans Gelissen (DHL SSC Maastricht)" userId="1afa8510-4eed-4b73-a29e-678838cd8acd" providerId="ADAL" clId="{B19B2550-6638-4B2A-9975-FD42BA1D712A}" dt="2023-07-06T12:05:29.350" v="111"/>
          <pc:sldLayoutMkLst>
            <pc:docMk/>
            <pc:sldMasterMk cId="1369645148" sldId="2147483790"/>
            <pc:sldLayoutMk cId="510718105" sldId="2147483807"/>
          </pc:sldLayoutMkLst>
          <pc:spChg chg="add mod">
            <ac:chgData name="Hans Gelissen (DHL SSC Maastricht)" userId="1afa8510-4eed-4b73-a29e-678838cd8acd" providerId="ADAL" clId="{B19B2550-6638-4B2A-9975-FD42BA1D712A}" dt="2023-07-06T12:05:29.350" v="111"/>
            <ac:spMkLst>
              <pc:docMk/>
              <pc:sldMasterMk cId="1369645148" sldId="2147483790"/>
              <pc:sldLayoutMk cId="510718105" sldId="2147483807"/>
              <ac:spMk id="3" creationId="{7464805C-ACBD-D5AD-98CE-032FCC4315E5}"/>
            </ac:spMkLst>
          </pc:spChg>
        </pc:sldLayoutChg>
        <pc:sldLayoutChg chg="addSp modSp">
          <pc:chgData name="Hans Gelissen (DHL SSC Maastricht)" userId="1afa8510-4eed-4b73-a29e-678838cd8acd" providerId="ADAL" clId="{B19B2550-6638-4B2A-9975-FD42BA1D712A}" dt="2023-07-06T12:05:17.917" v="95"/>
          <pc:sldLayoutMkLst>
            <pc:docMk/>
            <pc:sldMasterMk cId="1369645148" sldId="2147483790"/>
            <pc:sldLayoutMk cId="1943895301" sldId="2147483845"/>
          </pc:sldLayoutMkLst>
          <pc:spChg chg="add mod">
            <ac:chgData name="Hans Gelissen (DHL SSC Maastricht)" userId="1afa8510-4eed-4b73-a29e-678838cd8acd" providerId="ADAL" clId="{B19B2550-6638-4B2A-9975-FD42BA1D712A}" dt="2023-07-06T12:05:17.917" v="95"/>
            <ac:spMkLst>
              <pc:docMk/>
              <pc:sldMasterMk cId="1369645148" sldId="2147483790"/>
              <pc:sldLayoutMk cId="1943895301" sldId="2147483845"/>
              <ac:spMk id="3" creationId="{BEA65654-E8EB-3DAB-BEAA-80CC561305EF}"/>
            </ac:spMkLst>
          </pc:spChg>
        </pc:sldLayoutChg>
        <pc:sldLayoutChg chg="addSp modSp">
          <pc:chgData name="Hans Gelissen (DHL SSC Maastricht)" userId="1afa8510-4eed-4b73-a29e-678838cd8acd" providerId="ADAL" clId="{B19B2550-6638-4B2A-9975-FD42BA1D712A}" dt="2023-07-06T12:05:18.562" v="96"/>
          <pc:sldLayoutMkLst>
            <pc:docMk/>
            <pc:sldMasterMk cId="1369645148" sldId="2147483790"/>
            <pc:sldLayoutMk cId="2772115122" sldId="2147483846"/>
          </pc:sldLayoutMkLst>
          <pc:spChg chg="add mod">
            <ac:chgData name="Hans Gelissen (DHL SSC Maastricht)" userId="1afa8510-4eed-4b73-a29e-678838cd8acd" providerId="ADAL" clId="{B19B2550-6638-4B2A-9975-FD42BA1D712A}" dt="2023-07-06T12:05:18.562" v="96"/>
            <ac:spMkLst>
              <pc:docMk/>
              <pc:sldMasterMk cId="1369645148" sldId="2147483790"/>
              <pc:sldLayoutMk cId="2772115122" sldId="2147483846"/>
              <ac:spMk id="3" creationId="{1F13BFC1-8708-CD35-EE95-943C74527C5E}"/>
            </ac:spMkLst>
          </pc:spChg>
        </pc:sldLayoutChg>
        <pc:sldLayoutChg chg="addSp modSp">
          <pc:chgData name="Hans Gelissen (DHL SSC Maastricht)" userId="1afa8510-4eed-4b73-a29e-678838cd8acd" providerId="ADAL" clId="{B19B2550-6638-4B2A-9975-FD42BA1D712A}" dt="2023-07-06T12:05:18.964" v="97"/>
          <pc:sldLayoutMkLst>
            <pc:docMk/>
            <pc:sldMasterMk cId="1369645148" sldId="2147483790"/>
            <pc:sldLayoutMk cId="2373569907" sldId="2147483847"/>
          </pc:sldLayoutMkLst>
          <pc:spChg chg="add mod">
            <ac:chgData name="Hans Gelissen (DHL SSC Maastricht)" userId="1afa8510-4eed-4b73-a29e-678838cd8acd" providerId="ADAL" clId="{B19B2550-6638-4B2A-9975-FD42BA1D712A}" dt="2023-07-06T12:05:18.964" v="97"/>
            <ac:spMkLst>
              <pc:docMk/>
              <pc:sldMasterMk cId="1369645148" sldId="2147483790"/>
              <pc:sldLayoutMk cId="2373569907" sldId="2147483847"/>
              <ac:spMk id="3" creationId="{995CD79A-41FE-D1A4-50EB-79B5768F4C3F}"/>
            </ac:spMkLst>
          </pc:spChg>
        </pc:sldLayoutChg>
        <pc:sldLayoutChg chg="addSp modSp">
          <pc:chgData name="Hans Gelissen (DHL SSC Maastricht)" userId="1afa8510-4eed-4b73-a29e-678838cd8acd" providerId="ADAL" clId="{B19B2550-6638-4B2A-9975-FD42BA1D712A}" dt="2023-07-06T12:05:19.464" v="98"/>
          <pc:sldLayoutMkLst>
            <pc:docMk/>
            <pc:sldMasterMk cId="1369645148" sldId="2147483790"/>
            <pc:sldLayoutMk cId="3743593104" sldId="2147483848"/>
          </pc:sldLayoutMkLst>
          <pc:spChg chg="add mod">
            <ac:chgData name="Hans Gelissen (DHL SSC Maastricht)" userId="1afa8510-4eed-4b73-a29e-678838cd8acd" providerId="ADAL" clId="{B19B2550-6638-4B2A-9975-FD42BA1D712A}" dt="2023-07-06T12:05:19.464" v="98"/>
            <ac:spMkLst>
              <pc:docMk/>
              <pc:sldMasterMk cId="1369645148" sldId="2147483790"/>
              <pc:sldLayoutMk cId="3743593104" sldId="2147483848"/>
              <ac:spMk id="3" creationId="{64D98848-CF9A-5677-1730-694ED6AAD789}"/>
            </ac:spMkLst>
          </pc:spChg>
        </pc:sldLayoutChg>
        <pc:sldLayoutChg chg="addSp modSp">
          <pc:chgData name="Hans Gelissen (DHL SSC Maastricht)" userId="1afa8510-4eed-4b73-a29e-678838cd8acd" providerId="ADAL" clId="{B19B2550-6638-4B2A-9975-FD42BA1D712A}" dt="2023-07-06T12:05:19.999" v="99"/>
          <pc:sldLayoutMkLst>
            <pc:docMk/>
            <pc:sldMasterMk cId="1369645148" sldId="2147483790"/>
            <pc:sldLayoutMk cId="1234143409" sldId="2147483900"/>
          </pc:sldLayoutMkLst>
          <pc:spChg chg="add mod">
            <ac:chgData name="Hans Gelissen (DHL SSC Maastricht)" userId="1afa8510-4eed-4b73-a29e-678838cd8acd" providerId="ADAL" clId="{B19B2550-6638-4B2A-9975-FD42BA1D712A}" dt="2023-07-06T12:05:19.999" v="99"/>
            <ac:spMkLst>
              <pc:docMk/>
              <pc:sldMasterMk cId="1369645148" sldId="2147483790"/>
              <pc:sldLayoutMk cId="1234143409" sldId="2147483900"/>
              <ac:spMk id="3" creationId="{2A32F3E8-6D75-FE9E-75BD-A0FE56EDE388}"/>
            </ac:spMkLst>
          </pc:spChg>
        </pc:sldLayoutChg>
        <pc:sldLayoutChg chg="addSp modSp">
          <pc:chgData name="Hans Gelissen (DHL SSC Maastricht)" userId="1afa8510-4eed-4b73-a29e-678838cd8acd" providerId="ADAL" clId="{B19B2550-6638-4B2A-9975-FD42BA1D712A}" dt="2023-07-06T12:05:20.511" v="100"/>
          <pc:sldLayoutMkLst>
            <pc:docMk/>
            <pc:sldMasterMk cId="1369645148" sldId="2147483790"/>
            <pc:sldLayoutMk cId="4262359168" sldId="2147483901"/>
          </pc:sldLayoutMkLst>
          <pc:spChg chg="add mod">
            <ac:chgData name="Hans Gelissen (DHL SSC Maastricht)" userId="1afa8510-4eed-4b73-a29e-678838cd8acd" providerId="ADAL" clId="{B19B2550-6638-4B2A-9975-FD42BA1D712A}" dt="2023-07-06T12:05:20.511" v="100"/>
            <ac:spMkLst>
              <pc:docMk/>
              <pc:sldMasterMk cId="1369645148" sldId="2147483790"/>
              <pc:sldLayoutMk cId="4262359168" sldId="2147483901"/>
              <ac:spMk id="3" creationId="{D9964C1B-1A66-D349-0698-DA1B6B08A7DF}"/>
            </ac:spMkLst>
          </pc:spChg>
        </pc:sldLayoutChg>
        <pc:sldLayoutChg chg="addSp modSp">
          <pc:chgData name="Hans Gelissen (DHL SSC Maastricht)" userId="1afa8510-4eed-4b73-a29e-678838cd8acd" providerId="ADAL" clId="{B19B2550-6638-4B2A-9975-FD42BA1D712A}" dt="2023-07-06T12:05:21.018" v="101"/>
          <pc:sldLayoutMkLst>
            <pc:docMk/>
            <pc:sldMasterMk cId="1369645148" sldId="2147483790"/>
            <pc:sldLayoutMk cId="2696547024" sldId="2147483902"/>
          </pc:sldLayoutMkLst>
          <pc:spChg chg="add mod">
            <ac:chgData name="Hans Gelissen (DHL SSC Maastricht)" userId="1afa8510-4eed-4b73-a29e-678838cd8acd" providerId="ADAL" clId="{B19B2550-6638-4B2A-9975-FD42BA1D712A}" dt="2023-07-06T12:05:21.018" v="101"/>
            <ac:spMkLst>
              <pc:docMk/>
              <pc:sldMasterMk cId="1369645148" sldId="2147483790"/>
              <pc:sldLayoutMk cId="2696547024" sldId="2147483902"/>
              <ac:spMk id="3" creationId="{9B606F5D-94F6-1533-83AF-351CEABA72D0}"/>
            </ac:spMkLst>
          </pc:spChg>
        </pc:sldLayoutChg>
        <pc:sldLayoutChg chg="addSp modSp">
          <pc:chgData name="Hans Gelissen (DHL SSC Maastricht)" userId="1afa8510-4eed-4b73-a29e-678838cd8acd" providerId="ADAL" clId="{B19B2550-6638-4B2A-9975-FD42BA1D712A}" dt="2023-07-06T12:05:21.523" v="102"/>
          <pc:sldLayoutMkLst>
            <pc:docMk/>
            <pc:sldMasterMk cId="1369645148" sldId="2147483790"/>
            <pc:sldLayoutMk cId="4024878256" sldId="2147483903"/>
          </pc:sldLayoutMkLst>
          <pc:spChg chg="add mod">
            <ac:chgData name="Hans Gelissen (DHL SSC Maastricht)" userId="1afa8510-4eed-4b73-a29e-678838cd8acd" providerId="ADAL" clId="{B19B2550-6638-4B2A-9975-FD42BA1D712A}" dt="2023-07-06T12:05:21.523" v="102"/>
            <ac:spMkLst>
              <pc:docMk/>
              <pc:sldMasterMk cId="1369645148" sldId="2147483790"/>
              <pc:sldLayoutMk cId="4024878256" sldId="2147483903"/>
              <ac:spMk id="3" creationId="{84AC79B8-17F2-F290-04C6-BC76581AD7C1}"/>
            </ac:spMkLst>
          </pc:spChg>
        </pc:sldLayoutChg>
        <pc:sldLayoutChg chg="addSp modSp">
          <pc:chgData name="Hans Gelissen (DHL SSC Maastricht)" userId="1afa8510-4eed-4b73-a29e-678838cd8acd" providerId="ADAL" clId="{B19B2550-6638-4B2A-9975-FD42BA1D712A}" dt="2023-07-06T12:05:22.002" v="103"/>
          <pc:sldLayoutMkLst>
            <pc:docMk/>
            <pc:sldMasterMk cId="1369645148" sldId="2147483790"/>
            <pc:sldLayoutMk cId="2875832596" sldId="2147483963"/>
          </pc:sldLayoutMkLst>
          <pc:spChg chg="add mod">
            <ac:chgData name="Hans Gelissen (DHL SSC Maastricht)" userId="1afa8510-4eed-4b73-a29e-678838cd8acd" providerId="ADAL" clId="{B19B2550-6638-4B2A-9975-FD42BA1D712A}" dt="2023-07-06T12:05:22.002" v="103"/>
            <ac:spMkLst>
              <pc:docMk/>
              <pc:sldMasterMk cId="1369645148" sldId="2147483790"/>
              <pc:sldLayoutMk cId="2875832596" sldId="2147483963"/>
              <ac:spMk id="3" creationId="{6F770049-56D9-64E9-B315-A8F306B97F01}"/>
            </ac:spMkLst>
          </pc:spChg>
        </pc:sldLayoutChg>
        <pc:sldLayoutChg chg="addSp modSp">
          <pc:chgData name="Hans Gelissen (DHL SSC Maastricht)" userId="1afa8510-4eed-4b73-a29e-678838cd8acd" providerId="ADAL" clId="{B19B2550-6638-4B2A-9975-FD42BA1D712A}" dt="2023-07-06T12:05:24.456" v="108"/>
          <pc:sldLayoutMkLst>
            <pc:docMk/>
            <pc:sldMasterMk cId="1369645148" sldId="2147483790"/>
            <pc:sldLayoutMk cId="1994915095" sldId="2147483964"/>
          </pc:sldLayoutMkLst>
          <pc:spChg chg="add mod">
            <ac:chgData name="Hans Gelissen (DHL SSC Maastricht)" userId="1afa8510-4eed-4b73-a29e-678838cd8acd" providerId="ADAL" clId="{B19B2550-6638-4B2A-9975-FD42BA1D712A}" dt="2023-07-06T12:05:24.456" v="108"/>
            <ac:spMkLst>
              <pc:docMk/>
              <pc:sldMasterMk cId="1369645148" sldId="2147483790"/>
              <pc:sldLayoutMk cId="1994915095" sldId="2147483964"/>
              <ac:spMk id="3" creationId="{B2B9FE3B-3438-111E-62A6-7B392E00C6A8}"/>
            </ac:spMkLst>
          </pc:spChg>
        </pc:sldLayoutChg>
        <pc:sldLayoutChg chg="addSp modSp">
          <pc:chgData name="Hans Gelissen (DHL SSC Maastricht)" userId="1afa8510-4eed-4b73-a29e-678838cd8acd" providerId="ADAL" clId="{B19B2550-6638-4B2A-9975-FD42BA1D712A}" dt="2023-07-06T12:05:24.956" v="109"/>
          <pc:sldLayoutMkLst>
            <pc:docMk/>
            <pc:sldMasterMk cId="1369645148" sldId="2147483790"/>
            <pc:sldLayoutMk cId="2771766758" sldId="2147483965"/>
          </pc:sldLayoutMkLst>
          <pc:spChg chg="add mod">
            <ac:chgData name="Hans Gelissen (DHL SSC Maastricht)" userId="1afa8510-4eed-4b73-a29e-678838cd8acd" providerId="ADAL" clId="{B19B2550-6638-4B2A-9975-FD42BA1D712A}" dt="2023-07-06T12:05:24.956" v="109"/>
            <ac:spMkLst>
              <pc:docMk/>
              <pc:sldMasterMk cId="1369645148" sldId="2147483790"/>
              <pc:sldLayoutMk cId="2771766758" sldId="2147483965"/>
              <ac:spMk id="3" creationId="{F6E2C2D0-E0C6-08CC-D501-6BCBFF1CBC92}"/>
            </ac:spMkLst>
          </pc:spChg>
        </pc:sldLayoutChg>
        <pc:sldLayoutChg chg="addSp modSp">
          <pc:chgData name="Hans Gelissen (DHL SSC Maastricht)" userId="1afa8510-4eed-4b73-a29e-678838cd8acd" providerId="ADAL" clId="{B19B2550-6638-4B2A-9975-FD42BA1D712A}" dt="2023-07-06T12:05:25.990" v="110"/>
          <pc:sldLayoutMkLst>
            <pc:docMk/>
            <pc:sldMasterMk cId="1369645148" sldId="2147483790"/>
            <pc:sldLayoutMk cId="428736053" sldId="2147483966"/>
          </pc:sldLayoutMkLst>
          <pc:spChg chg="add mod">
            <ac:chgData name="Hans Gelissen (DHL SSC Maastricht)" userId="1afa8510-4eed-4b73-a29e-678838cd8acd" providerId="ADAL" clId="{B19B2550-6638-4B2A-9975-FD42BA1D712A}" dt="2023-07-06T12:05:25.990" v="110"/>
            <ac:spMkLst>
              <pc:docMk/>
              <pc:sldMasterMk cId="1369645148" sldId="2147483790"/>
              <pc:sldLayoutMk cId="428736053" sldId="2147483966"/>
              <ac:spMk id="3" creationId="{1A408564-E490-F243-5807-69E787479B2A}"/>
            </ac:spMkLst>
          </pc:spChg>
        </pc:sldLayoutChg>
        <pc:sldLayoutChg chg="addSp modSp">
          <pc:chgData name="Hans Gelissen (DHL SSC Maastricht)" userId="1afa8510-4eed-4b73-a29e-678838cd8acd" providerId="ADAL" clId="{B19B2550-6638-4B2A-9975-FD42BA1D712A}" dt="2023-07-06T12:05:22.523" v="104"/>
          <pc:sldLayoutMkLst>
            <pc:docMk/>
            <pc:sldMasterMk cId="1369645148" sldId="2147483790"/>
            <pc:sldLayoutMk cId="3374739531" sldId="2147483967"/>
          </pc:sldLayoutMkLst>
          <pc:spChg chg="add mod">
            <ac:chgData name="Hans Gelissen (DHL SSC Maastricht)" userId="1afa8510-4eed-4b73-a29e-678838cd8acd" providerId="ADAL" clId="{B19B2550-6638-4B2A-9975-FD42BA1D712A}" dt="2023-07-06T12:05:22.523" v="104"/>
            <ac:spMkLst>
              <pc:docMk/>
              <pc:sldMasterMk cId="1369645148" sldId="2147483790"/>
              <pc:sldLayoutMk cId="3374739531" sldId="2147483967"/>
              <ac:spMk id="3" creationId="{C03563E9-2511-F662-BEC5-6F9EDF2CAF4A}"/>
            </ac:spMkLst>
          </pc:spChg>
        </pc:sldLayoutChg>
        <pc:sldLayoutChg chg="addSp modSp">
          <pc:chgData name="Hans Gelissen (DHL SSC Maastricht)" userId="1afa8510-4eed-4b73-a29e-678838cd8acd" providerId="ADAL" clId="{B19B2550-6638-4B2A-9975-FD42BA1D712A}" dt="2023-07-06T12:05:23.010" v="105"/>
          <pc:sldLayoutMkLst>
            <pc:docMk/>
            <pc:sldMasterMk cId="1369645148" sldId="2147483790"/>
            <pc:sldLayoutMk cId="372204976" sldId="2147483968"/>
          </pc:sldLayoutMkLst>
          <pc:spChg chg="add mod">
            <ac:chgData name="Hans Gelissen (DHL SSC Maastricht)" userId="1afa8510-4eed-4b73-a29e-678838cd8acd" providerId="ADAL" clId="{B19B2550-6638-4B2A-9975-FD42BA1D712A}" dt="2023-07-06T12:05:23.010" v="105"/>
            <ac:spMkLst>
              <pc:docMk/>
              <pc:sldMasterMk cId="1369645148" sldId="2147483790"/>
              <pc:sldLayoutMk cId="372204976" sldId="2147483968"/>
              <ac:spMk id="3" creationId="{F77348B2-6892-993C-EE3B-4876E28625AA}"/>
            </ac:spMkLst>
          </pc:spChg>
        </pc:sldLayoutChg>
        <pc:sldLayoutChg chg="addSp modSp">
          <pc:chgData name="Hans Gelissen (DHL SSC Maastricht)" userId="1afa8510-4eed-4b73-a29e-678838cd8acd" providerId="ADAL" clId="{B19B2550-6638-4B2A-9975-FD42BA1D712A}" dt="2023-07-06T12:05:23.528" v="106"/>
          <pc:sldLayoutMkLst>
            <pc:docMk/>
            <pc:sldMasterMk cId="1369645148" sldId="2147483790"/>
            <pc:sldLayoutMk cId="2974460564" sldId="2147483969"/>
          </pc:sldLayoutMkLst>
          <pc:spChg chg="add mod">
            <ac:chgData name="Hans Gelissen (DHL SSC Maastricht)" userId="1afa8510-4eed-4b73-a29e-678838cd8acd" providerId="ADAL" clId="{B19B2550-6638-4B2A-9975-FD42BA1D712A}" dt="2023-07-06T12:05:23.528" v="106"/>
            <ac:spMkLst>
              <pc:docMk/>
              <pc:sldMasterMk cId="1369645148" sldId="2147483790"/>
              <pc:sldLayoutMk cId="2974460564" sldId="2147483969"/>
              <ac:spMk id="3" creationId="{A2B6FF0D-27DF-7259-ABDE-4CF1216B51B7}"/>
            </ac:spMkLst>
          </pc:spChg>
        </pc:sldLayoutChg>
        <pc:sldLayoutChg chg="addSp modSp">
          <pc:chgData name="Hans Gelissen (DHL SSC Maastricht)" userId="1afa8510-4eed-4b73-a29e-678838cd8acd" providerId="ADAL" clId="{B19B2550-6638-4B2A-9975-FD42BA1D712A}" dt="2023-07-06T12:05:23.968" v="107"/>
          <pc:sldLayoutMkLst>
            <pc:docMk/>
            <pc:sldMasterMk cId="1369645148" sldId="2147483790"/>
            <pc:sldLayoutMk cId="2919855449" sldId="2147483970"/>
          </pc:sldLayoutMkLst>
          <pc:spChg chg="add mod">
            <ac:chgData name="Hans Gelissen (DHL SSC Maastricht)" userId="1afa8510-4eed-4b73-a29e-678838cd8acd" providerId="ADAL" clId="{B19B2550-6638-4B2A-9975-FD42BA1D712A}" dt="2023-07-06T12:05:23.968" v="107"/>
            <ac:spMkLst>
              <pc:docMk/>
              <pc:sldMasterMk cId="1369645148" sldId="2147483790"/>
              <pc:sldLayoutMk cId="2919855449" sldId="2147483970"/>
              <ac:spMk id="3" creationId="{745C83A9-8BD1-9BE1-CD10-1D0556E8E396}"/>
            </ac:spMkLst>
          </pc:spChg>
        </pc:sldLayoutChg>
      </pc:sldMasterChg>
      <pc:sldMasterChg chg="addSp modSp modSldLayout">
        <pc:chgData name="Hans Gelissen (DHL SSC Maastricht)" userId="1afa8510-4eed-4b73-a29e-678838cd8acd" providerId="ADAL" clId="{B19B2550-6638-4B2A-9975-FD42BA1D712A}" dt="2023-07-06T12:06:28.022" v="172"/>
        <pc:sldMasterMkLst>
          <pc:docMk/>
          <pc:sldMasterMk cId="1868986140" sldId="2147483797"/>
        </pc:sldMasterMkLst>
        <pc:spChg chg="add mod">
          <ac:chgData name="Hans Gelissen (DHL SSC Maastricht)" userId="1afa8510-4eed-4b73-a29e-678838cd8acd" providerId="ADAL" clId="{B19B2550-6638-4B2A-9975-FD42BA1D712A}" dt="2023-07-06T12:03:19.068" v="12"/>
          <ac:spMkLst>
            <pc:docMk/>
            <pc:sldMasterMk cId="1868986140" sldId="2147483797"/>
            <ac:spMk id="2" creationId="{EF9E1EED-2422-00B3-4063-B068F8D1E758}"/>
          </ac:spMkLst>
        </pc:spChg>
        <pc:sldLayoutChg chg="addSp modSp">
          <pc:chgData name="Hans Gelissen (DHL SSC Maastricht)" userId="1afa8510-4eed-4b73-a29e-678838cd8acd" providerId="ADAL" clId="{B19B2550-6638-4B2A-9975-FD42BA1D712A}" dt="2023-07-06T12:06:11.187" v="151"/>
          <pc:sldLayoutMkLst>
            <pc:docMk/>
            <pc:sldMasterMk cId="1868986140" sldId="2147483797"/>
            <pc:sldLayoutMk cId="685959609" sldId="2147483816"/>
          </pc:sldLayoutMkLst>
          <pc:spChg chg="add mod">
            <ac:chgData name="Hans Gelissen (DHL SSC Maastricht)" userId="1afa8510-4eed-4b73-a29e-678838cd8acd" providerId="ADAL" clId="{B19B2550-6638-4B2A-9975-FD42BA1D712A}" dt="2023-07-06T12:06:11.187" v="151"/>
            <ac:spMkLst>
              <pc:docMk/>
              <pc:sldMasterMk cId="1868986140" sldId="2147483797"/>
              <pc:sldLayoutMk cId="685959609" sldId="2147483816"/>
              <ac:spMk id="2" creationId="{AA9AB630-85C4-0775-C228-EDED48406AFA}"/>
            </ac:spMkLst>
          </pc:spChg>
        </pc:sldLayoutChg>
        <pc:sldLayoutChg chg="addSp modSp">
          <pc:chgData name="Hans Gelissen (DHL SSC Maastricht)" userId="1afa8510-4eed-4b73-a29e-678838cd8acd" providerId="ADAL" clId="{B19B2550-6638-4B2A-9975-FD42BA1D712A}" dt="2023-07-06T12:06:23.692" v="170"/>
          <pc:sldLayoutMkLst>
            <pc:docMk/>
            <pc:sldMasterMk cId="1868986140" sldId="2147483797"/>
            <pc:sldLayoutMk cId="1943396673" sldId="2147483817"/>
          </pc:sldLayoutMkLst>
          <pc:spChg chg="add mod">
            <ac:chgData name="Hans Gelissen (DHL SSC Maastricht)" userId="1afa8510-4eed-4b73-a29e-678838cd8acd" providerId="ADAL" clId="{B19B2550-6638-4B2A-9975-FD42BA1D712A}" dt="2023-07-06T12:06:23.692" v="170"/>
            <ac:spMkLst>
              <pc:docMk/>
              <pc:sldMasterMk cId="1868986140" sldId="2147483797"/>
              <pc:sldLayoutMk cId="1943396673" sldId="2147483817"/>
              <ac:spMk id="2" creationId="{896D6DA2-C376-B76E-BDFE-2BA879F11019}"/>
            </ac:spMkLst>
          </pc:spChg>
        </pc:sldLayoutChg>
        <pc:sldLayoutChg chg="addSp modSp">
          <pc:chgData name="Hans Gelissen (DHL SSC Maastricht)" userId="1afa8510-4eed-4b73-a29e-678838cd8acd" providerId="ADAL" clId="{B19B2550-6638-4B2A-9975-FD42BA1D712A}" dt="2023-07-06T12:06:24.478" v="171"/>
          <pc:sldLayoutMkLst>
            <pc:docMk/>
            <pc:sldMasterMk cId="1868986140" sldId="2147483797"/>
            <pc:sldLayoutMk cId="2070522211" sldId="2147483819"/>
          </pc:sldLayoutMkLst>
          <pc:spChg chg="add mod">
            <ac:chgData name="Hans Gelissen (DHL SSC Maastricht)" userId="1afa8510-4eed-4b73-a29e-678838cd8acd" providerId="ADAL" clId="{B19B2550-6638-4B2A-9975-FD42BA1D712A}" dt="2023-07-06T12:06:24.478" v="171"/>
            <ac:spMkLst>
              <pc:docMk/>
              <pc:sldMasterMk cId="1868986140" sldId="2147483797"/>
              <pc:sldLayoutMk cId="2070522211" sldId="2147483819"/>
              <ac:spMk id="2" creationId="{6F22ECCB-45A5-005F-E0B3-FE62834AB0C7}"/>
            </ac:spMkLst>
          </pc:spChg>
        </pc:sldLayoutChg>
        <pc:sldLayoutChg chg="addSp modSp">
          <pc:chgData name="Hans Gelissen (DHL SSC Maastricht)" userId="1afa8510-4eed-4b73-a29e-678838cd8acd" providerId="ADAL" clId="{B19B2550-6638-4B2A-9975-FD42BA1D712A}" dt="2023-07-06T12:06:11.786" v="152"/>
          <pc:sldLayoutMkLst>
            <pc:docMk/>
            <pc:sldMasterMk cId="1868986140" sldId="2147483797"/>
            <pc:sldLayoutMk cId="3945046336" sldId="2147483820"/>
          </pc:sldLayoutMkLst>
          <pc:spChg chg="add mod">
            <ac:chgData name="Hans Gelissen (DHL SSC Maastricht)" userId="1afa8510-4eed-4b73-a29e-678838cd8acd" providerId="ADAL" clId="{B19B2550-6638-4B2A-9975-FD42BA1D712A}" dt="2023-07-06T12:06:11.786" v="152"/>
            <ac:spMkLst>
              <pc:docMk/>
              <pc:sldMasterMk cId="1868986140" sldId="2147483797"/>
              <pc:sldLayoutMk cId="3945046336" sldId="2147483820"/>
              <ac:spMk id="2" creationId="{F34889EA-0A8E-9F32-5F4F-12CC6318722C}"/>
            </ac:spMkLst>
          </pc:spChg>
        </pc:sldLayoutChg>
        <pc:sldLayoutChg chg="addSp modSp">
          <pc:chgData name="Hans Gelissen (DHL SSC Maastricht)" userId="1afa8510-4eed-4b73-a29e-678838cd8acd" providerId="ADAL" clId="{B19B2550-6638-4B2A-9975-FD42BA1D712A}" dt="2023-07-06T12:06:12.463" v="153"/>
          <pc:sldLayoutMkLst>
            <pc:docMk/>
            <pc:sldMasterMk cId="1868986140" sldId="2147483797"/>
            <pc:sldLayoutMk cId="3617079200" sldId="2147483821"/>
          </pc:sldLayoutMkLst>
          <pc:spChg chg="add mod">
            <ac:chgData name="Hans Gelissen (DHL SSC Maastricht)" userId="1afa8510-4eed-4b73-a29e-678838cd8acd" providerId="ADAL" clId="{B19B2550-6638-4B2A-9975-FD42BA1D712A}" dt="2023-07-06T12:06:12.463" v="153"/>
            <ac:spMkLst>
              <pc:docMk/>
              <pc:sldMasterMk cId="1868986140" sldId="2147483797"/>
              <pc:sldLayoutMk cId="3617079200" sldId="2147483821"/>
              <ac:spMk id="2" creationId="{EC6A50D3-57E0-F2B2-D33C-5410C78D654D}"/>
            </ac:spMkLst>
          </pc:spChg>
        </pc:sldLayoutChg>
        <pc:sldLayoutChg chg="addSp modSp">
          <pc:chgData name="Hans Gelissen (DHL SSC Maastricht)" userId="1afa8510-4eed-4b73-a29e-678838cd8acd" providerId="ADAL" clId="{B19B2550-6638-4B2A-9975-FD42BA1D712A}" dt="2023-07-06T12:06:22.349" v="169"/>
          <pc:sldLayoutMkLst>
            <pc:docMk/>
            <pc:sldMasterMk cId="1868986140" sldId="2147483797"/>
            <pc:sldLayoutMk cId="3526513862" sldId="2147483822"/>
          </pc:sldLayoutMkLst>
          <pc:spChg chg="add mod">
            <ac:chgData name="Hans Gelissen (DHL SSC Maastricht)" userId="1afa8510-4eed-4b73-a29e-678838cd8acd" providerId="ADAL" clId="{B19B2550-6638-4B2A-9975-FD42BA1D712A}" dt="2023-07-06T12:06:22.349" v="169"/>
            <ac:spMkLst>
              <pc:docMk/>
              <pc:sldMasterMk cId="1868986140" sldId="2147483797"/>
              <pc:sldLayoutMk cId="3526513862" sldId="2147483822"/>
              <ac:spMk id="2" creationId="{E2370806-9453-B699-70FE-DA782E8604D2}"/>
            </ac:spMkLst>
          </pc:spChg>
        </pc:sldLayoutChg>
        <pc:sldLayoutChg chg="addSp modSp">
          <pc:chgData name="Hans Gelissen (DHL SSC Maastricht)" userId="1afa8510-4eed-4b73-a29e-678838cd8acd" providerId="ADAL" clId="{B19B2550-6638-4B2A-9975-FD42BA1D712A}" dt="2023-07-06T12:06:13.109" v="154"/>
          <pc:sldLayoutMkLst>
            <pc:docMk/>
            <pc:sldMasterMk cId="1868986140" sldId="2147483797"/>
            <pc:sldLayoutMk cId="3806172940" sldId="2147483867"/>
          </pc:sldLayoutMkLst>
          <pc:spChg chg="add mod">
            <ac:chgData name="Hans Gelissen (DHL SSC Maastricht)" userId="1afa8510-4eed-4b73-a29e-678838cd8acd" providerId="ADAL" clId="{B19B2550-6638-4B2A-9975-FD42BA1D712A}" dt="2023-07-06T12:06:13.109" v="154"/>
            <ac:spMkLst>
              <pc:docMk/>
              <pc:sldMasterMk cId="1868986140" sldId="2147483797"/>
              <pc:sldLayoutMk cId="3806172940" sldId="2147483867"/>
              <ac:spMk id="2" creationId="{977D2245-2126-DFA8-0D5B-EA4A32525269}"/>
            </ac:spMkLst>
          </pc:spChg>
        </pc:sldLayoutChg>
        <pc:sldLayoutChg chg="addSp modSp">
          <pc:chgData name="Hans Gelissen (DHL SSC Maastricht)" userId="1afa8510-4eed-4b73-a29e-678838cd8acd" providerId="ADAL" clId="{B19B2550-6638-4B2A-9975-FD42BA1D712A}" dt="2023-07-06T12:06:13.754" v="155"/>
          <pc:sldLayoutMkLst>
            <pc:docMk/>
            <pc:sldMasterMk cId="1868986140" sldId="2147483797"/>
            <pc:sldLayoutMk cId="2251536655" sldId="2147483868"/>
          </pc:sldLayoutMkLst>
          <pc:spChg chg="add mod">
            <ac:chgData name="Hans Gelissen (DHL SSC Maastricht)" userId="1afa8510-4eed-4b73-a29e-678838cd8acd" providerId="ADAL" clId="{B19B2550-6638-4B2A-9975-FD42BA1D712A}" dt="2023-07-06T12:06:13.754" v="155"/>
            <ac:spMkLst>
              <pc:docMk/>
              <pc:sldMasterMk cId="1868986140" sldId="2147483797"/>
              <pc:sldLayoutMk cId="2251536655" sldId="2147483868"/>
              <ac:spMk id="2" creationId="{18AD24C9-9068-2206-72E7-1057C2702C91}"/>
            </ac:spMkLst>
          </pc:spChg>
        </pc:sldLayoutChg>
        <pc:sldLayoutChg chg="addSp modSp">
          <pc:chgData name="Hans Gelissen (DHL SSC Maastricht)" userId="1afa8510-4eed-4b73-a29e-678838cd8acd" providerId="ADAL" clId="{B19B2550-6638-4B2A-9975-FD42BA1D712A}" dt="2023-07-06T12:06:14.325" v="156"/>
          <pc:sldLayoutMkLst>
            <pc:docMk/>
            <pc:sldMasterMk cId="1868986140" sldId="2147483797"/>
            <pc:sldLayoutMk cId="2932579979" sldId="2147483869"/>
          </pc:sldLayoutMkLst>
          <pc:spChg chg="add mod">
            <ac:chgData name="Hans Gelissen (DHL SSC Maastricht)" userId="1afa8510-4eed-4b73-a29e-678838cd8acd" providerId="ADAL" clId="{B19B2550-6638-4B2A-9975-FD42BA1D712A}" dt="2023-07-06T12:06:14.325" v="156"/>
            <ac:spMkLst>
              <pc:docMk/>
              <pc:sldMasterMk cId="1868986140" sldId="2147483797"/>
              <pc:sldLayoutMk cId="2932579979" sldId="2147483869"/>
              <ac:spMk id="2" creationId="{94984FFA-635C-BD99-2084-5D594D572CBD}"/>
            </ac:spMkLst>
          </pc:spChg>
        </pc:sldLayoutChg>
        <pc:sldLayoutChg chg="addSp modSp">
          <pc:chgData name="Hans Gelissen (DHL SSC Maastricht)" userId="1afa8510-4eed-4b73-a29e-678838cd8acd" providerId="ADAL" clId="{B19B2550-6638-4B2A-9975-FD42BA1D712A}" dt="2023-07-06T12:06:14.940" v="157"/>
          <pc:sldLayoutMkLst>
            <pc:docMk/>
            <pc:sldMasterMk cId="1868986140" sldId="2147483797"/>
            <pc:sldLayoutMk cId="977397691" sldId="2147483915"/>
          </pc:sldLayoutMkLst>
          <pc:spChg chg="add mod">
            <ac:chgData name="Hans Gelissen (DHL SSC Maastricht)" userId="1afa8510-4eed-4b73-a29e-678838cd8acd" providerId="ADAL" clId="{B19B2550-6638-4B2A-9975-FD42BA1D712A}" dt="2023-07-06T12:06:14.940" v="157"/>
            <ac:spMkLst>
              <pc:docMk/>
              <pc:sldMasterMk cId="1868986140" sldId="2147483797"/>
              <pc:sldLayoutMk cId="977397691" sldId="2147483915"/>
              <ac:spMk id="2" creationId="{B9EBC849-4326-C344-E95A-238C9D59BCB6}"/>
            </ac:spMkLst>
          </pc:spChg>
        </pc:sldLayoutChg>
        <pc:sldLayoutChg chg="addSp modSp">
          <pc:chgData name="Hans Gelissen (DHL SSC Maastricht)" userId="1afa8510-4eed-4b73-a29e-678838cd8acd" providerId="ADAL" clId="{B19B2550-6638-4B2A-9975-FD42BA1D712A}" dt="2023-07-06T12:06:15.597" v="158"/>
          <pc:sldLayoutMkLst>
            <pc:docMk/>
            <pc:sldMasterMk cId="1868986140" sldId="2147483797"/>
            <pc:sldLayoutMk cId="2040111478" sldId="2147483916"/>
          </pc:sldLayoutMkLst>
          <pc:spChg chg="add mod">
            <ac:chgData name="Hans Gelissen (DHL SSC Maastricht)" userId="1afa8510-4eed-4b73-a29e-678838cd8acd" providerId="ADAL" clId="{B19B2550-6638-4B2A-9975-FD42BA1D712A}" dt="2023-07-06T12:06:15.597" v="158"/>
            <ac:spMkLst>
              <pc:docMk/>
              <pc:sldMasterMk cId="1868986140" sldId="2147483797"/>
              <pc:sldLayoutMk cId="2040111478" sldId="2147483916"/>
              <ac:spMk id="2" creationId="{60726E73-869B-83A0-5553-84CFFDF88B09}"/>
            </ac:spMkLst>
          </pc:spChg>
        </pc:sldLayoutChg>
        <pc:sldLayoutChg chg="addSp modSp">
          <pc:chgData name="Hans Gelissen (DHL SSC Maastricht)" userId="1afa8510-4eed-4b73-a29e-678838cd8acd" providerId="ADAL" clId="{B19B2550-6638-4B2A-9975-FD42BA1D712A}" dt="2023-07-06T12:06:16.229" v="159"/>
          <pc:sldLayoutMkLst>
            <pc:docMk/>
            <pc:sldMasterMk cId="1868986140" sldId="2147483797"/>
            <pc:sldLayoutMk cId="244716027" sldId="2147483917"/>
          </pc:sldLayoutMkLst>
          <pc:spChg chg="add mod">
            <ac:chgData name="Hans Gelissen (DHL SSC Maastricht)" userId="1afa8510-4eed-4b73-a29e-678838cd8acd" providerId="ADAL" clId="{B19B2550-6638-4B2A-9975-FD42BA1D712A}" dt="2023-07-06T12:06:16.229" v="159"/>
            <ac:spMkLst>
              <pc:docMk/>
              <pc:sldMasterMk cId="1868986140" sldId="2147483797"/>
              <pc:sldLayoutMk cId="244716027" sldId="2147483917"/>
              <ac:spMk id="2" creationId="{8A5F75FD-FB43-8CFB-8A84-B2988DFFB226}"/>
            </ac:spMkLst>
          </pc:spChg>
        </pc:sldLayoutChg>
        <pc:sldLayoutChg chg="addSp modSp">
          <pc:chgData name="Hans Gelissen (DHL SSC Maastricht)" userId="1afa8510-4eed-4b73-a29e-678838cd8acd" providerId="ADAL" clId="{B19B2550-6638-4B2A-9975-FD42BA1D712A}" dt="2023-07-06T12:06:16.861" v="160"/>
          <pc:sldLayoutMkLst>
            <pc:docMk/>
            <pc:sldMasterMk cId="1868986140" sldId="2147483797"/>
            <pc:sldLayoutMk cId="1644390991" sldId="2147483918"/>
          </pc:sldLayoutMkLst>
          <pc:spChg chg="add mod">
            <ac:chgData name="Hans Gelissen (DHL SSC Maastricht)" userId="1afa8510-4eed-4b73-a29e-678838cd8acd" providerId="ADAL" clId="{B19B2550-6638-4B2A-9975-FD42BA1D712A}" dt="2023-07-06T12:06:16.861" v="160"/>
            <ac:spMkLst>
              <pc:docMk/>
              <pc:sldMasterMk cId="1868986140" sldId="2147483797"/>
              <pc:sldLayoutMk cId="1644390991" sldId="2147483918"/>
              <ac:spMk id="2" creationId="{C8C3C119-A7E2-CD7C-50FC-CFBB2B49AF7D}"/>
            </ac:spMkLst>
          </pc:spChg>
        </pc:sldLayoutChg>
        <pc:sldLayoutChg chg="addSp modSp">
          <pc:chgData name="Hans Gelissen (DHL SSC Maastricht)" userId="1afa8510-4eed-4b73-a29e-678838cd8acd" providerId="ADAL" clId="{B19B2550-6638-4B2A-9975-FD42BA1D712A}" dt="2023-07-06T12:06:17.437" v="161"/>
          <pc:sldLayoutMkLst>
            <pc:docMk/>
            <pc:sldMasterMk cId="1868986140" sldId="2147483797"/>
            <pc:sldLayoutMk cId="201742887" sldId="2147483997"/>
          </pc:sldLayoutMkLst>
          <pc:spChg chg="add mod">
            <ac:chgData name="Hans Gelissen (DHL SSC Maastricht)" userId="1afa8510-4eed-4b73-a29e-678838cd8acd" providerId="ADAL" clId="{B19B2550-6638-4B2A-9975-FD42BA1D712A}" dt="2023-07-06T12:06:17.437" v="161"/>
            <ac:spMkLst>
              <pc:docMk/>
              <pc:sldMasterMk cId="1868986140" sldId="2147483797"/>
              <pc:sldLayoutMk cId="201742887" sldId="2147483997"/>
              <ac:spMk id="2" creationId="{3D19F135-70BB-B34E-5009-DDB65A04DC2D}"/>
            </ac:spMkLst>
          </pc:spChg>
        </pc:sldLayoutChg>
        <pc:sldLayoutChg chg="addSp modSp">
          <pc:chgData name="Hans Gelissen (DHL SSC Maastricht)" userId="1afa8510-4eed-4b73-a29e-678838cd8acd" providerId="ADAL" clId="{B19B2550-6638-4B2A-9975-FD42BA1D712A}" dt="2023-07-06T12:06:18.062" v="162"/>
          <pc:sldLayoutMkLst>
            <pc:docMk/>
            <pc:sldMasterMk cId="1868986140" sldId="2147483797"/>
            <pc:sldLayoutMk cId="4173667141" sldId="2147483998"/>
          </pc:sldLayoutMkLst>
          <pc:spChg chg="add mod">
            <ac:chgData name="Hans Gelissen (DHL SSC Maastricht)" userId="1afa8510-4eed-4b73-a29e-678838cd8acd" providerId="ADAL" clId="{B19B2550-6638-4B2A-9975-FD42BA1D712A}" dt="2023-07-06T12:06:18.062" v="162"/>
            <ac:spMkLst>
              <pc:docMk/>
              <pc:sldMasterMk cId="1868986140" sldId="2147483797"/>
              <pc:sldLayoutMk cId="4173667141" sldId="2147483998"/>
              <ac:spMk id="2" creationId="{6702BEB0-D4B4-0D33-E066-B9536E83AC41}"/>
            </ac:spMkLst>
          </pc:spChg>
        </pc:sldLayoutChg>
        <pc:sldLayoutChg chg="addSp modSp">
          <pc:chgData name="Hans Gelissen (DHL SSC Maastricht)" userId="1afa8510-4eed-4b73-a29e-678838cd8acd" providerId="ADAL" clId="{B19B2550-6638-4B2A-9975-FD42BA1D712A}" dt="2023-07-06T12:06:18.649" v="163"/>
          <pc:sldLayoutMkLst>
            <pc:docMk/>
            <pc:sldMasterMk cId="1868986140" sldId="2147483797"/>
            <pc:sldLayoutMk cId="792619031" sldId="2147483999"/>
          </pc:sldLayoutMkLst>
          <pc:spChg chg="add mod">
            <ac:chgData name="Hans Gelissen (DHL SSC Maastricht)" userId="1afa8510-4eed-4b73-a29e-678838cd8acd" providerId="ADAL" clId="{B19B2550-6638-4B2A-9975-FD42BA1D712A}" dt="2023-07-06T12:06:18.649" v="163"/>
            <ac:spMkLst>
              <pc:docMk/>
              <pc:sldMasterMk cId="1868986140" sldId="2147483797"/>
              <pc:sldLayoutMk cId="792619031" sldId="2147483999"/>
              <ac:spMk id="2" creationId="{52D11ADA-2A50-53C3-1DBE-6A04973BA3F7}"/>
            </ac:spMkLst>
          </pc:spChg>
        </pc:sldLayoutChg>
        <pc:sldLayoutChg chg="addSp modSp">
          <pc:chgData name="Hans Gelissen (DHL SSC Maastricht)" userId="1afa8510-4eed-4b73-a29e-678838cd8acd" providerId="ADAL" clId="{B19B2550-6638-4B2A-9975-FD42BA1D712A}" dt="2023-07-06T12:06:19.212" v="164"/>
          <pc:sldLayoutMkLst>
            <pc:docMk/>
            <pc:sldMasterMk cId="1868986140" sldId="2147483797"/>
            <pc:sldLayoutMk cId="3478677470" sldId="2147484000"/>
          </pc:sldLayoutMkLst>
          <pc:spChg chg="add mod">
            <ac:chgData name="Hans Gelissen (DHL SSC Maastricht)" userId="1afa8510-4eed-4b73-a29e-678838cd8acd" providerId="ADAL" clId="{B19B2550-6638-4B2A-9975-FD42BA1D712A}" dt="2023-07-06T12:06:19.212" v="164"/>
            <ac:spMkLst>
              <pc:docMk/>
              <pc:sldMasterMk cId="1868986140" sldId="2147483797"/>
              <pc:sldLayoutMk cId="3478677470" sldId="2147484000"/>
              <ac:spMk id="2" creationId="{09C5ADAB-7122-4CD8-5326-97007BFFCB25}"/>
            </ac:spMkLst>
          </pc:spChg>
        </pc:sldLayoutChg>
        <pc:sldLayoutChg chg="addSp modSp">
          <pc:chgData name="Hans Gelissen (DHL SSC Maastricht)" userId="1afa8510-4eed-4b73-a29e-678838cd8acd" providerId="ADAL" clId="{B19B2550-6638-4B2A-9975-FD42BA1D712A}" dt="2023-07-06T12:06:20.543" v="166"/>
          <pc:sldLayoutMkLst>
            <pc:docMk/>
            <pc:sldMasterMk cId="1868986140" sldId="2147483797"/>
            <pc:sldLayoutMk cId="1177635758" sldId="2147484001"/>
          </pc:sldLayoutMkLst>
          <pc:spChg chg="add mod">
            <ac:chgData name="Hans Gelissen (DHL SSC Maastricht)" userId="1afa8510-4eed-4b73-a29e-678838cd8acd" providerId="ADAL" clId="{B19B2550-6638-4B2A-9975-FD42BA1D712A}" dt="2023-07-06T12:06:20.543" v="166"/>
            <ac:spMkLst>
              <pc:docMk/>
              <pc:sldMasterMk cId="1868986140" sldId="2147483797"/>
              <pc:sldLayoutMk cId="1177635758" sldId="2147484001"/>
              <ac:spMk id="2" creationId="{055CFA40-C43C-E7B4-D362-DF3F56B987CB}"/>
            </ac:spMkLst>
          </pc:spChg>
        </pc:sldLayoutChg>
        <pc:sldLayoutChg chg="addSp modSp">
          <pc:chgData name="Hans Gelissen (DHL SSC Maastricht)" userId="1afa8510-4eed-4b73-a29e-678838cd8acd" providerId="ADAL" clId="{B19B2550-6638-4B2A-9975-FD42BA1D712A}" dt="2023-07-06T12:06:21.066" v="167"/>
          <pc:sldLayoutMkLst>
            <pc:docMk/>
            <pc:sldMasterMk cId="1868986140" sldId="2147483797"/>
            <pc:sldLayoutMk cId="2857915107" sldId="2147484002"/>
          </pc:sldLayoutMkLst>
          <pc:spChg chg="add mod">
            <ac:chgData name="Hans Gelissen (DHL SSC Maastricht)" userId="1afa8510-4eed-4b73-a29e-678838cd8acd" providerId="ADAL" clId="{B19B2550-6638-4B2A-9975-FD42BA1D712A}" dt="2023-07-06T12:06:21.066" v="167"/>
            <ac:spMkLst>
              <pc:docMk/>
              <pc:sldMasterMk cId="1868986140" sldId="2147483797"/>
              <pc:sldLayoutMk cId="2857915107" sldId="2147484002"/>
              <ac:spMk id="2" creationId="{FE96857B-6312-FB00-CAE5-2A3AA3A8E0AB}"/>
            </ac:spMkLst>
          </pc:spChg>
        </pc:sldLayoutChg>
        <pc:sldLayoutChg chg="addSp modSp">
          <pc:chgData name="Hans Gelissen (DHL SSC Maastricht)" userId="1afa8510-4eed-4b73-a29e-678838cd8acd" providerId="ADAL" clId="{B19B2550-6638-4B2A-9975-FD42BA1D712A}" dt="2023-07-06T12:06:21.692" v="168"/>
          <pc:sldLayoutMkLst>
            <pc:docMk/>
            <pc:sldMasterMk cId="1868986140" sldId="2147483797"/>
            <pc:sldLayoutMk cId="3568781352" sldId="2147484003"/>
          </pc:sldLayoutMkLst>
          <pc:spChg chg="add mod">
            <ac:chgData name="Hans Gelissen (DHL SSC Maastricht)" userId="1afa8510-4eed-4b73-a29e-678838cd8acd" providerId="ADAL" clId="{B19B2550-6638-4B2A-9975-FD42BA1D712A}" dt="2023-07-06T12:06:21.692" v="168"/>
            <ac:spMkLst>
              <pc:docMk/>
              <pc:sldMasterMk cId="1868986140" sldId="2147483797"/>
              <pc:sldLayoutMk cId="3568781352" sldId="2147484003"/>
              <ac:spMk id="2" creationId="{9E1C0B2D-2093-FE82-1278-FEF8B9ADEFBF}"/>
            </ac:spMkLst>
          </pc:spChg>
        </pc:sldLayoutChg>
        <pc:sldLayoutChg chg="addSp modSp">
          <pc:chgData name="Hans Gelissen (DHL SSC Maastricht)" userId="1afa8510-4eed-4b73-a29e-678838cd8acd" providerId="ADAL" clId="{B19B2550-6638-4B2A-9975-FD42BA1D712A}" dt="2023-07-06T12:06:19.877" v="165"/>
          <pc:sldLayoutMkLst>
            <pc:docMk/>
            <pc:sldMasterMk cId="1868986140" sldId="2147483797"/>
            <pc:sldLayoutMk cId="1550887452" sldId="2147484004"/>
          </pc:sldLayoutMkLst>
          <pc:spChg chg="add mod">
            <ac:chgData name="Hans Gelissen (DHL SSC Maastricht)" userId="1afa8510-4eed-4b73-a29e-678838cd8acd" providerId="ADAL" clId="{B19B2550-6638-4B2A-9975-FD42BA1D712A}" dt="2023-07-06T12:06:19.877" v="165"/>
            <ac:spMkLst>
              <pc:docMk/>
              <pc:sldMasterMk cId="1868986140" sldId="2147483797"/>
              <pc:sldLayoutMk cId="1550887452" sldId="2147484004"/>
              <ac:spMk id="2" creationId="{8BF2D95E-73AC-9ABC-D88E-041A3D949D79}"/>
            </ac:spMkLst>
          </pc:spChg>
        </pc:sldLayoutChg>
        <pc:sldLayoutChg chg="addSp modSp">
          <pc:chgData name="Hans Gelissen (DHL SSC Maastricht)" userId="1afa8510-4eed-4b73-a29e-678838cd8acd" providerId="ADAL" clId="{B19B2550-6638-4B2A-9975-FD42BA1D712A}" dt="2023-07-06T12:06:28.022" v="172"/>
          <pc:sldLayoutMkLst>
            <pc:docMk/>
            <pc:sldMasterMk cId="1868986140" sldId="2147483797"/>
            <pc:sldLayoutMk cId="3374177708" sldId="2147484029"/>
          </pc:sldLayoutMkLst>
          <pc:spChg chg="add mod">
            <ac:chgData name="Hans Gelissen (DHL SSC Maastricht)" userId="1afa8510-4eed-4b73-a29e-678838cd8acd" providerId="ADAL" clId="{B19B2550-6638-4B2A-9975-FD42BA1D712A}" dt="2023-07-06T12:06:28.022" v="172"/>
            <ac:spMkLst>
              <pc:docMk/>
              <pc:sldMasterMk cId="1868986140" sldId="2147483797"/>
              <pc:sldLayoutMk cId="3374177708" sldId="2147484029"/>
              <ac:spMk id="2" creationId="{12CB08C0-95C1-B69D-8C67-F5A7172CDF5A}"/>
            </ac:spMkLst>
          </pc:spChg>
        </pc:sldLayoutChg>
      </pc:sldMasterChg>
      <pc:sldMasterChg chg="addSp modSp modSldLayout">
        <pc:chgData name="Hans Gelissen (DHL SSC Maastricht)" userId="1afa8510-4eed-4b73-a29e-678838cd8acd" providerId="ADAL" clId="{B19B2550-6638-4B2A-9975-FD42BA1D712A}" dt="2023-07-06T12:06:09.187" v="150"/>
        <pc:sldMasterMkLst>
          <pc:docMk/>
          <pc:sldMasterMk cId="380743489" sldId="2147483798"/>
        </pc:sldMasterMkLst>
        <pc:spChg chg="add mod">
          <ac:chgData name="Hans Gelissen (DHL SSC Maastricht)" userId="1afa8510-4eed-4b73-a29e-678838cd8acd" providerId="ADAL" clId="{B19B2550-6638-4B2A-9975-FD42BA1D712A}" dt="2023-07-06T12:03:16.106" v="11"/>
          <ac:spMkLst>
            <pc:docMk/>
            <pc:sldMasterMk cId="380743489" sldId="2147483798"/>
            <ac:spMk id="2" creationId="{F5103ACD-3202-1E5A-DA25-52EDE19ED385}"/>
          </ac:spMkLst>
        </pc:spChg>
        <pc:sldLayoutChg chg="addSp modSp">
          <pc:chgData name="Hans Gelissen (DHL SSC Maastricht)" userId="1afa8510-4eed-4b73-a29e-678838cd8acd" providerId="ADAL" clId="{B19B2550-6638-4B2A-9975-FD42BA1D712A}" dt="2023-07-06T12:05:43.622" v="132"/>
          <pc:sldLayoutMkLst>
            <pc:docMk/>
            <pc:sldMasterMk cId="380743489" sldId="2147483798"/>
            <pc:sldLayoutMk cId="3165067286" sldId="2147483799"/>
          </pc:sldLayoutMkLst>
          <pc:spChg chg="add mod">
            <ac:chgData name="Hans Gelissen (DHL SSC Maastricht)" userId="1afa8510-4eed-4b73-a29e-678838cd8acd" providerId="ADAL" clId="{B19B2550-6638-4B2A-9975-FD42BA1D712A}" dt="2023-07-06T12:05:43.622" v="132"/>
            <ac:spMkLst>
              <pc:docMk/>
              <pc:sldMasterMk cId="380743489" sldId="2147483798"/>
              <pc:sldLayoutMk cId="3165067286" sldId="2147483799"/>
              <ac:spMk id="3" creationId="{58C5DABA-AABD-8BC0-379F-6191FEFC8BF9}"/>
            </ac:spMkLst>
          </pc:spChg>
        </pc:sldLayoutChg>
        <pc:sldLayoutChg chg="addSp modSp">
          <pc:chgData name="Hans Gelissen (DHL SSC Maastricht)" userId="1afa8510-4eed-4b73-a29e-678838cd8acd" providerId="ADAL" clId="{B19B2550-6638-4B2A-9975-FD42BA1D712A}" dt="2023-07-06T12:05:44.341" v="133"/>
          <pc:sldLayoutMkLst>
            <pc:docMk/>
            <pc:sldMasterMk cId="380743489" sldId="2147483798"/>
            <pc:sldLayoutMk cId="1975890743" sldId="2147483812"/>
          </pc:sldLayoutMkLst>
          <pc:spChg chg="add mod">
            <ac:chgData name="Hans Gelissen (DHL SSC Maastricht)" userId="1afa8510-4eed-4b73-a29e-678838cd8acd" providerId="ADAL" clId="{B19B2550-6638-4B2A-9975-FD42BA1D712A}" dt="2023-07-06T12:05:44.341" v="133"/>
            <ac:spMkLst>
              <pc:docMk/>
              <pc:sldMasterMk cId="380743489" sldId="2147483798"/>
              <pc:sldLayoutMk cId="1975890743" sldId="2147483812"/>
              <ac:spMk id="3" creationId="{C6F3F1FB-0DFF-BAF9-121E-52C00D44891F}"/>
            </ac:spMkLst>
          </pc:spChg>
        </pc:sldLayoutChg>
        <pc:sldLayoutChg chg="addSp modSp">
          <pc:chgData name="Hans Gelissen (DHL SSC Maastricht)" userId="1afa8510-4eed-4b73-a29e-678838cd8acd" providerId="ADAL" clId="{B19B2550-6638-4B2A-9975-FD42BA1D712A}" dt="2023-07-06T12:06:09.187" v="150"/>
          <pc:sldLayoutMkLst>
            <pc:docMk/>
            <pc:sldMasterMk cId="380743489" sldId="2147483798"/>
            <pc:sldLayoutMk cId="718631429" sldId="2147483813"/>
          </pc:sldLayoutMkLst>
          <pc:spChg chg="add mod">
            <ac:chgData name="Hans Gelissen (DHL SSC Maastricht)" userId="1afa8510-4eed-4b73-a29e-678838cd8acd" providerId="ADAL" clId="{B19B2550-6638-4B2A-9975-FD42BA1D712A}" dt="2023-07-06T12:06:09.187" v="150"/>
            <ac:spMkLst>
              <pc:docMk/>
              <pc:sldMasterMk cId="380743489" sldId="2147483798"/>
              <pc:sldLayoutMk cId="718631429" sldId="2147483813"/>
              <ac:spMk id="3" creationId="{F87EE7C1-4D61-A485-6EB1-398A98AEA017}"/>
            </ac:spMkLst>
          </pc:spChg>
        </pc:sldLayoutChg>
        <pc:sldLayoutChg chg="addSp modSp">
          <pc:chgData name="Hans Gelissen (DHL SSC Maastricht)" userId="1afa8510-4eed-4b73-a29e-678838cd8acd" providerId="ADAL" clId="{B19B2550-6638-4B2A-9975-FD42BA1D712A}" dt="2023-07-06T12:05:44.639" v="134"/>
          <pc:sldLayoutMkLst>
            <pc:docMk/>
            <pc:sldMasterMk cId="380743489" sldId="2147483798"/>
            <pc:sldLayoutMk cId="1447749584" sldId="2147483858"/>
          </pc:sldLayoutMkLst>
          <pc:spChg chg="add mod">
            <ac:chgData name="Hans Gelissen (DHL SSC Maastricht)" userId="1afa8510-4eed-4b73-a29e-678838cd8acd" providerId="ADAL" clId="{B19B2550-6638-4B2A-9975-FD42BA1D712A}" dt="2023-07-06T12:05:44.639" v="134"/>
            <ac:spMkLst>
              <pc:docMk/>
              <pc:sldMasterMk cId="380743489" sldId="2147483798"/>
              <pc:sldLayoutMk cId="1447749584" sldId="2147483858"/>
              <ac:spMk id="3" creationId="{A31BECA2-BDBC-A984-BA4B-F87386D02337}"/>
            </ac:spMkLst>
          </pc:spChg>
        </pc:sldLayoutChg>
        <pc:sldLayoutChg chg="addSp modSp">
          <pc:chgData name="Hans Gelissen (DHL SSC Maastricht)" userId="1afa8510-4eed-4b73-a29e-678838cd8acd" providerId="ADAL" clId="{B19B2550-6638-4B2A-9975-FD42BA1D712A}" dt="2023-07-06T12:05:45.295" v="135"/>
          <pc:sldLayoutMkLst>
            <pc:docMk/>
            <pc:sldMasterMk cId="380743489" sldId="2147483798"/>
            <pc:sldLayoutMk cId="3770817431" sldId="2147483859"/>
          </pc:sldLayoutMkLst>
          <pc:spChg chg="add mod">
            <ac:chgData name="Hans Gelissen (DHL SSC Maastricht)" userId="1afa8510-4eed-4b73-a29e-678838cd8acd" providerId="ADAL" clId="{B19B2550-6638-4B2A-9975-FD42BA1D712A}" dt="2023-07-06T12:05:45.295" v="135"/>
            <ac:spMkLst>
              <pc:docMk/>
              <pc:sldMasterMk cId="380743489" sldId="2147483798"/>
              <pc:sldLayoutMk cId="3770817431" sldId="2147483859"/>
              <ac:spMk id="3" creationId="{BCF2E74B-5FFF-520A-37E3-8AC223F8348B}"/>
            </ac:spMkLst>
          </pc:spChg>
        </pc:sldLayoutChg>
        <pc:sldLayoutChg chg="addSp modSp">
          <pc:chgData name="Hans Gelissen (DHL SSC Maastricht)" userId="1afa8510-4eed-4b73-a29e-678838cd8acd" providerId="ADAL" clId="{B19B2550-6638-4B2A-9975-FD42BA1D712A}" dt="2023-07-06T12:05:45.530" v="136"/>
          <pc:sldLayoutMkLst>
            <pc:docMk/>
            <pc:sldMasterMk cId="380743489" sldId="2147483798"/>
            <pc:sldLayoutMk cId="3975550019" sldId="2147483860"/>
          </pc:sldLayoutMkLst>
          <pc:spChg chg="add mod">
            <ac:chgData name="Hans Gelissen (DHL SSC Maastricht)" userId="1afa8510-4eed-4b73-a29e-678838cd8acd" providerId="ADAL" clId="{B19B2550-6638-4B2A-9975-FD42BA1D712A}" dt="2023-07-06T12:05:45.530" v="136"/>
            <ac:spMkLst>
              <pc:docMk/>
              <pc:sldMasterMk cId="380743489" sldId="2147483798"/>
              <pc:sldLayoutMk cId="3975550019" sldId="2147483860"/>
              <ac:spMk id="3" creationId="{54B2C77A-489F-8A62-60CB-7D34B8EC8F93}"/>
            </ac:spMkLst>
          </pc:spChg>
        </pc:sldLayoutChg>
        <pc:sldLayoutChg chg="addSp modSp">
          <pc:chgData name="Hans Gelissen (DHL SSC Maastricht)" userId="1afa8510-4eed-4b73-a29e-678838cd8acd" providerId="ADAL" clId="{B19B2550-6638-4B2A-9975-FD42BA1D712A}" dt="2023-07-06T12:05:45.922" v="137"/>
          <pc:sldLayoutMkLst>
            <pc:docMk/>
            <pc:sldMasterMk cId="380743489" sldId="2147483798"/>
            <pc:sldLayoutMk cId="2558172010" sldId="2147483910"/>
          </pc:sldLayoutMkLst>
          <pc:spChg chg="add mod">
            <ac:chgData name="Hans Gelissen (DHL SSC Maastricht)" userId="1afa8510-4eed-4b73-a29e-678838cd8acd" providerId="ADAL" clId="{B19B2550-6638-4B2A-9975-FD42BA1D712A}" dt="2023-07-06T12:05:45.922" v="137"/>
            <ac:spMkLst>
              <pc:docMk/>
              <pc:sldMasterMk cId="380743489" sldId="2147483798"/>
              <pc:sldLayoutMk cId="2558172010" sldId="2147483910"/>
              <ac:spMk id="3" creationId="{9CA61B38-1CB8-200A-9BBA-C0CC27739CD4}"/>
            </ac:spMkLst>
          </pc:spChg>
        </pc:sldLayoutChg>
        <pc:sldLayoutChg chg="addSp modSp">
          <pc:chgData name="Hans Gelissen (DHL SSC Maastricht)" userId="1afa8510-4eed-4b73-a29e-678838cd8acd" providerId="ADAL" clId="{B19B2550-6638-4B2A-9975-FD42BA1D712A}" dt="2023-07-06T12:05:46.265" v="138"/>
          <pc:sldLayoutMkLst>
            <pc:docMk/>
            <pc:sldMasterMk cId="380743489" sldId="2147483798"/>
            <pc:sldLayoutMk cId="185021961" sldId="2147483911"/>
          </pc:sldLayoutMkLst>
          <pc:spChg chg="add mod">
            <ac:chgData name="Hans Gelissen (DHL SSC Maastricht)" userId="1afa8510-4eed-4b73-a29e-678838cd8acd" providerId="ADAL" clId="{B19B2550-6638-4B2A-9975-FD42BA1D712A}" dt="2023-07-06T12:05:46.265" v="138"/>
            <ac:spMkLst>
              <pc:docMk/>
              <pc:sldMasterMk cId="380743489" sldId="2147483798"/>
              <pc:sldLayoutMk cId="185021961" sldId="2147483911"/>
              <ac:spMk id="3" creationId="{5EF953B4-E01A-9D42-65BF-4BAA4797F40D}"/>
            </ac:spMkLst>
          </pc:spChg>
        </pc:sldLayoutChg>
        <pc:sldLayoutChg chg="addSp modSp">
          <pc:chgData name="Hans Gelissen (DHL SSC Maastricht)" userId="1afa8510-4eed-4b73-a29e-678838cd8acd" providerId="ADAL" clId="{B19B2550-6638-4B2A-9975-FD42BA1D712A}" dt="2023-07-06T12:05:49.037" v="139"/>
          <pc:sldLayoutMkLst>
            <pc:docMk/>
            <pc:sldMasterMk cId="380743489" sldId="2147483798"/>
            <pc:sldLayoutMk cId="1294134225" sldId="2147483912"/>
          </pc:sldLayoutMkLst>
          <pc:spChg chg="add mod">
            <ac:chgData name="Hans Gelissen (DHL SSC Maastricht)" userId="1afa8510-4eed-4b73-a29e-678838cd8acd" providerId="ADAL" clId="{B19B2550-6638-4B2A-9975-FD42BA1D712A}" dt="2023-07-06T12:05:49.037" v="139"/>
            <ac:spMkLst>
              <pc:docMk/>
              <pc:sldMasterMk cId="380743489" sldId="2147483798"/>
              <pc:sldLayoutMk cId="1294134225" sldId="2147483912"/>
              <ac:spMk id="3" creationId="{9F38AFE2-B4B1-85F3-BC08-A3DFFD369DE3}"/>
            </ac:spMkLst>
          </pc:spChg>
        </pc:sldLayoutChg>
        <pc:sldLayoutChg chg="addSp modSp">
          <pc:chgData name="Hans Gelissen (DHL SSC Maastricht)" userId="1afa8510-4eed-4b73-a29e-678838cd8acd" providerId="ADAL" clId="{B19B2550-6638-4B2A-9975-FD42BA1D712A}" dt="2023-07-06T12:05:49.849" v="140"/>
          <pc:sldLayoutMkLst>
            <pc:docMk/>
            <pc:sldMasterMk cId="380743489" sldId="2147483798"/>
            <pc:sldLayoutMk cId="3605607904" sldId="2147483913"/>
          </pc:sldLayoutMkLst>
          <pc:spChg chg="add mod">
            <ac:chgData name="Hans Gelissen (DHL SSC Maastricht)" userId="1afa8510-4eed-4b73-a29e-678838cd8acd" providerId="ADAL" clId="{B19B2550-6638-4B2A-9975-FD42BA1D712A}" dt="2023-07-06T12:05:49.849" v="140"/>
            <ac:spMkLst>
              <pc:docMk/>
              <pc:sldMasterMk cId="380743489" sldId="2147483798"/>
              <pc:sldLayoutMk cId="3605607904" sldId="2147483913"/>
              <ac:spMk id="3" creationId="{00ED7E53-7CA9-8199-9BE7-A8B81CE06E86}"/>
            </ac:spMkLst>
          </pc:spChg>
        </pc:sldLayoutChg>
        <pc:sldLayoutChg chg="addSp modSp">
          <pc:chgData name="Hans Gelissen (DHL SSC Maastricht)" userId="1afa8510-4eed-4b73-a29e-678838cd8acd" providerId="ADAL" clId="{B19B2550-6638-4B2A-9975-FD42BA1D712A}" dt="2023-07-06T12:05:52.196" v="141"/>
          <pc:sldLayoutMkLst>
            <pc:docMk/>
            <pc:sldMasterMk cId="380743489" sldId="2147483798"/>
            <pc:sldLayoutMk cId="3620310099" sldId="2147483981"/>
          </pc:sldLayoutMkLst>
          <pc:spChg chg="add mod">
            <ac:chgData name="Hans Gelissen (DHL SSC Maastricht)" userId="1afa8510-4eed-4b73-a29e-678838cd8acd" providerId="ADAL" clId="{B19B2550-6638-4B2A-9975-FD42BA1D712A}" dt="2023-07-06T12:05:52.196" v="141"/>
            <ac:spMkLst>
              <pc:docMk/>
              <pc:sldMasterMk cId="380743489" sldId="2147483798"/>
              <pc:sldLayoutMk cId="3620310099" sldId="2147483981"/>
              <ac:spMk id="3" creationId="{6C291315-E753-B260-9DA5-9150B4C0ECF0}"/>
            </ac:spMkLst>
          </pc:spChg>
        </pc:sldLayoutChg>
        <pc:sldLayoutChg chg="addSp modSp">
          <pc:chgData name="Hans Gelissen (DHL SSC Maastricht)" userId="1afa8510-4eed-4b73-a29e-678838cd8acd" providerId="ADAL" clId="{B19B2550-6638-4B2A-9975-FD42BA1D712A}" dt="2023-07-06T12:05:52.733" v="142"/>
          <pc:sldLayoutMkLst>
            <pc:docMk/>
            <pc:sldMasterMk cId="380743489" sldId="2147483798"/>
            <pc:sldLayoutMk cId="1179472784" sldId="2147483982"/>
          </pc:sldLayoutMkLst>
          <pc:spChg chg="add mod">
            <ac:chgData name="Hans Gelissen (DHL SSC Maastricht)" userId="1afa8510-4eed-4b73-a29e-678838cd8acd" providerId="ADAL" clId="{B19B2550-6638-4B2A-9975-FD42BA1D712A}" dt="2023-07-06T12:05:52.733" v="142"/>
            <ac:spMkLst>
              <pc:docMk/>
              <pc:sldMasterMk cId="380743489" sldId="2147483798"/>
              <pc:sldLayoutMk cId="1179472784" sldId="2147483982"/>
              <ac:spMk id="3" creationId="{6EAEEEDF-C83B-0AD1-1C3D-22A5458496D5}"/>
            </ac:spMkLst>
          </pc:spChg>
        </pc:sldLayoutChg>
        <pc:sldLayoutChg chg="addSp modSp">
          <pc:chgData name="Hans Gelissen (DHL SSC Maastricht)" userId="1afa8510-4eed-4b73-a29e-678838cd8acd" providerId="ADAL" clId="{B19B2550-6638-4B2A-9975-FD42BA1D712A}" dt="2023-07-06T12:05:53.267" v="143"/>
          <pc:sldLayoutMkLst>
            <pc:docMk/>
            <pc:sldMasterMk cId="380743489" sldId="2147483798"/>
            <pc:sldLayoutMk cId="743991180" sldId="2147483983"/>
          </pc:sldLayoutMkLst>
          <pc:spChg chg="add mod">
            <ac:chgData name="Hans Gelissen (DHL SSC Maastricht)" userId="1afa8510-4eed-4b73-a29e-678838cd8acd" providerId="ADAL" clId="{B19B2550-6638-4B2A-9975-FD42BA1D712A}" dt="2023-07-06T12:05:53.267" v="143"/>
            <ac:spMkLst>
              <pc:docMk/>
              <pc:sldMasterMk cId="380743489" sldId="2147483798"/>
              <pc:sldLayoutMk cId="743991180" sldId="2147483983"/>
              <ac:spMk id="3" creationId="{082DBBF1-0CCA-F150-FCC4-F45C3C72FD07}"/>
            </ac:spMkLst>
          </pc:spChg>
        </pc:sldLayoutChg>
        <pc:sldLayoutChg chg="addSp modSp">
          <pc:chgData name="Hans Gelissen (DHL SSC Maastricht)" userId="1afa8510-4eed-4b73-a29e-678838cd8acd" providerId="ADAL" clId="{B19B2550-6638-4B2A-9975-FD42BA1D712A}" dt="2023-07-06T12:05:53.789" v="144"/>
          <pc:sldLayoutMkLst>
            <pc:docMk/>
            <pc:sldMasterMk cId="380743489" sldId="2147483798"/>
            <pc:sldLayoutMk cId="3889033995" sldId="2147483984"/>
          </pc:sldLayoutMkLst>
          <pc:spChg chg="add mod">
            <ac:chgData name="Hans Gelissen (DHL SSC Maastricht)" userId="1afa8510-4eed-4b73-a29e-678838cd8acd" providerId="ADAL" clId="{B19B2550-6638-4B2A-9975-FD42BA1D712A}" dt="2023-07-06T12:05:53.789" v="144"/>
            <ac:spMkLst>
              <pc:docMk/>
              <pc:sldMasterMk cId="380743489" sldId="2147483798"/>
              <pc:sldLayoutMk cId="3889033995" sldId="2147483984"/>
              <ac:spMk id="3" creationId="{C8D3E9DA-2457-038D-D6B7-411D3126272F}"/>
            </ac:spMkLst>
          </pc:spChg>
        </pc:sldLayoutChg>
        <pc:sldLayoutChg chg="addSp delSp modSp mod">
          <pc:chgData name="Hans Gelissen (DHL SSC Maastricht)" userId="1afa8510-4eed-4b73-a29e-678838cd8acd" providerId="ADAL" clId="{B19B2550-6638-4B2A-9975-FD42BA1D712A}" dt="2023-07-06T12:06:04.301" v="147"/>
          <pc:sldLayoutMkLst>
            <pc:docMk/>
            <pc:sldMasterMk cId="380743489" sldId="2147483798"/>
            <pc:sldLayoutMk cId="853828882" sldId="2147483986"/>
          </pc:sldLayoutMkLst>
          <pc:spChg chg="add del mod">
            <ac:chgData name="Hans Gelissen (DHL SSC Maastricht)" userId="1afa8510-4eed-4b73-a29e-678838cd8acd" providerId="ADAL" clId="{B19B2550-6638-4B2A-9975-FD42BA1D712A}" dt="2023-07-06T12:06:02.385" v="146" actId="478"/>
            <ac:spMkLst>
              <pc:docMk/>
              <pc:sldMasterMk cId="380743489" sldId="2147483798"/>
              <pc:sldLayoutMk cId="853828882" sldId="2147483986"/>
              <ac:spMk id="3" creationId="{8561FDAB-A435-3B2E-0DAD-EA9336D98711}"/>
            </ac:spMkLst>
          </pc:spChg>
          <pc:spChg chg="add mod">
            <ac:chgData name="Hans Gelissen (DHL SSC Maastricht)" userId="1afa8510-4eed-4b73-a29e-678838cd8acd" providerId="ADAL" clId="{B19B2550-6638-4B2A-9975-FD42BA1D712A}" dt="2023-07-06T12:06:04.301" v="147"/>
            <ac:spMkLst>
              <pc:docMk/>
              <pc:sldMasterMk cId="380743489" sldId="2147483798"/>
              <pc:sldLayoutMk cId="853828882" sldId="2147483986"/>
              <ac:spMk id="4" creationId="{ABA81A72-3135-F075-CCE9-5259A32EE8BB}"/>
            </ac:spMkLst>
          </pc:spChg>
        </pc:sldLayoutChg>
        <pc:sldLayoutChg chg="addSp modSp">
          <pc:chgData name="Hans Gelissen (DHL SSC Maastricht)" userId="1afa8510-4eed-4b73-a29e-678838cd8acd" providerId="ADAL" clId="{B19B2550-6638-4B2A-9975-FD42BA1D712A}" dt="2023-07-06T12:06:07.421" v="148"/>
          <pc:sldLayoutMkLst>
            <pc:docMk/>
            <pc:sldMasterMk cId="380743489" sldId="2147483798"/>
            <pc:sldLayoutMk cId="2500544717" sldId="2147483987"/>
          </pc:sldLayoutMkLst>
          <pc:spChg chg="add mod">
            <ac:chgData name="Hans Gelissen (DHL SSC Maastricht)" userId="1afa8510-4eed-4b73-a29e-678838cd8acd" providerId="ADAL" clId="{B19B2550-6638-4B2A-9975-FD42BA1D712A}" dt="2023-07-06T12:06:07.421" v="148"/>
            <ac:spMkLst>
              <pc:docMk/>
              <pc:sldMasterMk cId="380743489" sldId="2147483798"/>
              <pc:sldLayoutMk cId="2500544717" sldId="2147483987"/>
              <ac:spMk id="3" creationId="{C35E2609-8B03-1F5E-0F1E-F0594FDE9A35}"/>
            </ac:spMkLst>
          </pc:spChg>
        </pc:sldLayoutChg>
        <pc:sldLayoutChg chg="addSp modSp">
          <pc:chgData name="Hans Gelissen (DHL SSC Maastricht)" userId="1afa8510-4eed-4b73-a29e-678838cd8acd" providerId="ADAL" clId="{B19B2550-6638-4B2A-9975-FD42BA1D712A}" dt="2023-07-06T12:06:08.772" v="149"/>
          <pc:sldLayoutMkLst>
            <pc:docMk/>
            <pc:sldMasterMk cId="380743489" sldId="2147483798"/>
            <pc:sldLayoutMk cId="428352869" sldId="2147483988"/>
          </pc:sldLayoutMkLst>
          <pc:spChg chg="add mod">
            <ac:chgData name="Hans Gelissen (DHL SSC Maastricht)" userId="1afa8510-4eed-4b73-a29e-678838cd8acd" providerId="ADAL" clId="{B19B2550-6638-4B2A-9975-FD42BA1D712A}" dt="2023-07-06T12:06:08.772" v="149"/>
            <ac:spMkLst>
              <pc:docMk/>
              <pc:sldMasterMk cId="380743489" sldId="2147483798"/>
              <pc:sldLayoutMk cId="428352869" sldId="2147483988"/>
              <ac:spMk id="3" creationId="{39176E5B-ECD5-EAFB-7FD7-A4A1B907464F}"/>
            </ac:spMkLst>
          </pc:spChg>
        </pc:sldLayoutChg>
      </pc:sldMasterChg>
      <pc:sldMasterChg chg="addSp modSp modSldLayout">
        <pc:chgData name="Hans Gelissen (DHL SSC Maastricht)" userId="1afa8510-4eed-4b73-a29e-678838cd8acd" providerId="ADAL" clId="{B19B2550-6638-4B2A-9975-FD42BA1D712A}" dt="2023-07-06T12:06:31.055" v="175"/>
        <pc:sldMasterMkLst>
          <pc:docMk/>
          <pc:sldMasterMk cId="452284608" sldId="2147484031"/>
        </pc:sldMasterMkLst>
        <pc:spChg chg="add mod">
          <ac:chgData name="Hans Gelissen (DHL SSC Maastricht)" userId="1afa8510-4eed-4b73-a29e-678838cd8acd" providerId="ADAL" clId="{B19B2550-6638-4B2A-9975-FD42BA1D712A}" dt="2023-07-06T12:03:22.598" v="13"/>
          <ac:spMkLst>
            <pc:docMk/>
            <pc:sldMasterMk cId="452284608" sldId="2147484031"/>
            <ac:spMk id="2" creationId="{00DDE07C-1CD1-9C40-2F0C-982666502A67}"/>
          </ac:spMkLst>
        </pc:spChg>
        <pc:sldLayoutChg chg="addSp modSp">
          <pc:chgData name="Hans Gelissen (DHL SSC Maastricht)" userId="1afa8510-4eed-4b73-a29e-678838cd8acd" providerId="ADAL" clId="{B19B2550-6638-4B2A-9975-FD42BA1D712A}" dt="2023-07-06T12:06:29.893" v="173"/>
          <pc:sldLayoutMkLst>
            <pc:docMk/>
            <pc:sldMasterMk cId="452284608" sldId="2147484031"/>
            <pc:sldLayoutMk cId="2137232494" sldId="2147484032"/>
          </pc:sldLayoutMkLst>
          <pc:spChg chg="add mod">
            <ac:chgData name="Hans Gelissen (DHL SSC Maastricht)" userId="1afa8510-4eed-4b73-a29e-678838cd8acd" providerId="ADAL" clId="{B19B2550-6638-4B2A-9975-FD42BA1D712A}" dt="2023-07-06T12:06:29.893" v="173"/>
            <ac:spMkLst>
              <pc:docMk/>
              <pc:sldMasterMk cId="452284608" sldId="2147484031"/>
              <pc:sldLayoutMk cId="2137232494" sldId="2147484032"/>
              <ac:spMk id="2" creationId="{033F84BD-0008-2E81-4C2E-0A04683EAC10}"/>
            </ac:spMkLst>
          </pc:spChg>
        </pc:sldLayoutChg>
        <pc:sldLayoutChg chg="addSp modSp">
          <pc:chgData name="Hans Gelissen (DHL SSC Maastricht)" userId="1afa8510-4eed-4b73-a29e-678838cd8acd" providerId="ADAL" clId="{B19B2550-6638-4B2A-9975-FD42BA1D712A}" dt="2023-07-06T12:06:30.453" v="174"/>
          <pc:sldLayoutMkLst>
            <pc:docMk/>
            <pc:sldMasterMk cId="452284608" sldId="2147484031"/>
            <pc:sldLayoutMk cId="2987006883" sldId="2147484040"/>
          </pc:sldLayoutMkLst>
          <pc:spChg chg="add mod">
            <ac:chgData name="Hans Gelissen (DHL SSC Maastricht)" userId="1afa8510-4eed-4b73-a29e-678838cd8acd" providerId="ADAL" clId="{B19B2550-6638-4B2A-9975-FD42BA1D712A}" dt="2023-07-06T12:06:30.453" v="174"/>
            <ac:spMkLst>
              <pc:docMk/>
              <pc:sldMasterMk cId="452284608" sldId="2147484031"/>
              <pc:sldLayoutMk cId="2987006883" sldId="2147484040"/>
              <ac:spMk id="2" creationId="{C2AE90C8-7045-07BE-3460-24684A778F80}"/>
            </ac:spMkLst>
          </pc:spChg>
        </pc:sldLayoutChg>
        <pc:sldLayoutChg chg="addSp modSp">
          <pc:chgData name="Hans Gelissen (DHL SSC Maastricht)" userId="1afa8510-4eed-4b73-a29e-678838cd8acd" providerId="ADAL" clId="{B19B2550-6638-4B2A-9975-FD42BA1D712A}" dt="2023-07-06T12:06:31.055" v="175"/>
          <pc:sldLayoutMkLst>
            <pc:docMk/>
            <pc:sldMasterMk cId="452284608" sldId="2147484031"/>
            <pc:sldLayoutMk cId="3674749976" sldId="2147484042"/>
          </pc:sldLayoutMkLst>
          <pc:spChg chg="add mod">
            <ac:chgData name="Hans Gelissen (DHL SSC Maastricht)" userId="1afa8510-4eed-4b73-a29e-678838cd8acd" providerId="ADAL" clId="{B19B2550-6638-4B2A-9975-FD42BA1D712A}" dt="2023-07-06T12:06:31.055" v="175"/>
            <ac:spMkLst>
              <pc:docMk/>
              <pc:sldMasterMk cId="452284608" sldId="2147484031"/>
              <pc:sldLayoutMk cId="3674749976" sldId="2147484042"/>
              <ac:spMk id="3" creationId="{E2F14596-198E-0B2F-E596-F73B06DA0D06}"/>
            </ac:spMkLst>
          </pc:spChg>
        </pc:sldLayoutChg>
      </pc:sldMasterChg>
      <pc:sldMasterChg chg="modSp mod modSldLayout">
        <pc:chgData name="Hans Gelissen (DHL SSC Maastricht)" userId="1afa8510-4eed-4b73-a29e-678838cd8acd" providerId="ADAL" clId="{B19B2550-6638-4B2A-9975-FD42BA1D712A}" dt="2023-07-06T12:04:03.757" v="18"/>
        <pc:sldMasterMkLst>
          <pc:docMk/>
          <pc:sldMasterMk cId="323497015" sldId="2147484033"/>
        </pc:sldMasterMkLst>
        <pc:spChg chg="mod">
          <ac:chgData name="Hans Gelissen (DHL SSC Maastricht)" userId="1afa8510-4eed-4b73-a29e-678838cd8acd" providerId="ADAL" clId="{B19B2550-6638-4B2A-9975-FD42BA1D712A}" dt="2023-07-06T12:02:47.588" v="4" actId="113"/>
          <ac:spMkLst>
            <pc:docMk/>
            <pc:sldMasterMk cId="323497015" sldId="2147484033"/>
            <ac:spMk id="2" creationId="{5456442D-8FAD-B7CA-6398-7D55340BCA09}"/>
          </ac:spMkLst>
        </pc:spChg>
        <pc:sldLayoutChg chg="addSp modSp">
          <pc:chgData name="Hans Gelissen (DHL SSC Maastricht)" userId="1afa8510-4eed-4b73-a29e-678838cd8acd" providerId="ADAL" clId="{B19B2550-6638-4B2A-9975-FD42BA1D712A}" dt="2023-07-06T12:03:58.686" v="16"/>
          <pc:sldLayoutMkLst>
            <pc:docMk/>
            <pc:sldMasterMk cId="323497015" sldId="2147484033"/>
            <pc:sldLayoutMk cId="3607588471" sldId="2147484034"/>
          </pc:sldLayoutMkLst>
          <pc:spChg chg="add mod">
            <ac:chgData name="Hans Gelissen (DHL SSC Maastricht)" userId="1afa8510-4eed-4b73-a29e-678838cd8acd" providerId="ADAL" clId="{B19B2550-6638-4B2A-9975-FD42BA1D712A}" dt="2023-07-06T12:03:58.686" v="16"/>
            <ac:spMkLst>
              <pc:docMk/>
              <pc:sldMasterMk cId="323497015" sldId="2147484033"/>
              <pc:sldLayoutMk cId="3607588471" sldId="2147484034"/>
              <ac:spMk id="2" creationId="{73272EEA-77E3-C80B-BFD3-2EFB225170D5}"/>
            </ac:spMkLst>
          </pc:spChg>
        </pc:sldLayoutChg>
        <pc:sldLayoutChg chg="addSp modSp">
          <pc:chgData name="Hans Gelissen (DHL SSC Maastricht)" userId="1afa8510-4eed-4b73-a29e-678838cd8acd" providerId="ADAL" clId="{B19B2550-6638-4B2A-9975-FD42BA1D712A}" dt="2023-07-06T12:04:03.757" v="18"/>
          <pc:sldLayoutMkLst>
            <pc:docMk/>
            <pc:sldMasterMk cId="323497015" sldId="2147484033"/>
            <pc:sldLayoutMk cId="1454208401" sldId="2147484035"/>
          </pc:sldLayoutMkLst>
          <pc:spChg chg="add mod">
            <ac:chgData name="Hans Gelissen (DHL SSC Maastricht)" userId="1afa8510-4eed-4b73-a29e-678838cd8acd" providerId="ADAL" clId="{B19B2550-6638-4B2A-9975-FD42BA1D712A}" dt="2023-07-06T12:04:03.757" v="18"/>
            <ac:spMkLst>
              <pc:docMk/>
              <pc:sldMasterMk cId="323497015" sldId="2147484033"/>
              <pc:sldLayoutMk cId="1454208401" sldId="2147484035"/>
              <ac:spMk id="2" creationId="{ECC7613B-FCDB-C1C5-942B-9B823B2BD8A3}"/>
            </ac:spMkLst>
          </pc:spChg>
        </pc:sldLayoutChg>
        <pc:sldLayoutChg chg="addSp modSp">
          <pc:chgData name="Hans Gelissen (DHL SSC Maastricht)" userId="1afa8510-4eed-4b73-a29e-678838cd8acd" providerId="ADAL" clId="{B19B2550-6638-4B2A-9975-FD42BA1D712A}" dt="2023-07-06T12:03:55.557" v="15"/>
          <pc:sldLayoutMkLst>
            <pc:docMk/>
            <pc:sldMasterMk cId="323497015" sldId="2147484033"/>
            <pc:sldLayoutMk cId="715467645" sldId="2147484038"/>
          </pc:sldLayoutMkLst>
          <pc:spChg chg="add mod">
            <ac:chgData name="Hans Gelissen (DHL SSC Maastricht)" userId="1afa8510-4eed-4b73-a29e-678838cd8acd" providerId="ADAL" clId="{B19B2550-6638-4B2A-9975-FD42BA1D712A}" dt="2023-07-06T12:03:55.557" v="15"/>
            <ac:spMkLst>
              <pc:docMk/>
              <pc:sldMasterMk cId="323497015" sldId="2147484033"/>
              <pc:sldLayoutMk cId="715467645" sldId="2147484038"/>
              <ac:spMk id="5" creationId="{C471A70A-A01E-6A72-4AA3-846EAB783C13}"/>
            </ac:spMkLst>
          </pc:spChg>
        </pc:sldLayoutChg>
        <pc:sldLayoutChg chg="addSp modSp">
          <pc:chgData name="Hans Gelissen (DHL SSC Maastricht)" userId="1afa8510-4eed-4b73-a29e-678838cd8acd" providerId="ADAL" clId="{B19B2550-6638-4B2A-9975-FD42BA1D712A}" dt="2023-07-06T12:04:01.692" v="17"/>
          <pc:sldLayoutMkLst>
            <pc:docMk/>
            <pc:sldMasterMk cId="323497015" sldId="2147484033"/>
            <pc:sldLayoutMk cId="2194012706" sldId="2147484039"/>
          </pc:sldLayoutMkLst>
          <pc:spChg chg="add mod">
            <ac:chgData name="Hans Gelissen (DHL SSC Maastricht)" userId="1afa8510-4eed-4b73-a29e-678838cd8acd" providerId="ADAL" clId="{B19B2550-6638-4B2A-9975-FD42BA1D712A}" dt="2023-07-06T12:04:01.692" v="17"/>
            <ac:spMkLst>
              <pc:docMk/>
              <pc:sldMasterMk cId="323497015" sldId="2147484033"/>
              <pc:sldLayoutMk cId="2194012706" sldId="2147484039"/>
              <ac:spMk id="5" creationId="{4A68BCBA-A82C-A0F4-A58E-AB3C61A84F90}"/>
            </ac:spMkLst>
          </pc:spChg>
        </pc:sldLayoutChg>
      </pc:sldMasterChg>
      <pc:sldMasterChg chg="addSp modSp modSldLayout">
        <pc:chgData name="Hans Gelissen (DHL SSC Maastricht)" userId="1afa8510-4eed-4b73-a29e-678838cd8acd" providerId="ADAL" clId="{B19B2550-6638-4B2A-9975-FD42BA1D712A}" dt="2023-07-06T12:06:37.725" v="177"/>
        <pc:sldMasterMkLst>
          <pc:docMk/>
          <pc:sldMasterMk cId="346234790" sldId="2147484036"/>
        </pc:sldMasterMkLst>
        <pc:spChg chg="add mod">
          <ac:chgData name="Hans Gelissen (DHL SSC Maastricht)" userId="1afa8510-4eed-4b73-a29e-678838cd8acd" providerId="ADAL" clId="{B19B2550-6638-4B2A-9975-FD42BA1D712A}" dt="2023-07-06T12:03:24.686" v="14"/>
          <ac:spMkLst>
            <pc:docMk/>
            <pc:sldMasterMk cId="346234790" sldId="2147484036"/>
            <ac:spMk id="2" creationId="{2768357D-233D-5B42-6681-B5C78E9A1DE1}"/>
          </ac:spMkLst>
        </pc:spChg>
        <pc:sldLayoutChg chg="addSp modSp">
          <pc:chgData name="Hans Gelissen (DHL SSC Maastricht)" userId="1afa8510-4eed-4b73-a29e-678838cd8acd" providerId="ADAL" clId="{B19B2550-6638-4B2A-9975-FD42BA1D712A}" dt="2023-07-06T12:06:37.054" v="176"/>
          <pc:sldLayoutMkLst>
            <pc:docMk/>
            <pc:sldMasterMk cId="346234790" sldId="2147484036"/>
            <pc:sldLayoutMk cId="3570524635" sldId="2147484037"/>
          </pc:sldLayoutMkLst>
          <pc:spChg chg="add mod">
            <ac:chgData name="Hans Gelissen (DHL SSC Maastricht)" userId="1afa8510-4eed-4b73-a29e-678838cd8acd" providerId="ADAL" clId="{B19B2550-6638-4B2A-9975-FD42BA1D712A}" dt="2023-07-06T12:06:37.054" v="176"/>
            <ac:spMkLst>
              <pc:docMk/>
              <pc:sldMasterMk cId="346234790" sldId="2147484036"/>
              <pc:sldLayoutMk cId="3570524635" sldId="2147484037"/>
              <ac:spMk id="2" creationId="{CCF5B685-6C23-6746-84D7-1563AEE376E5}"/>
            </ac:spMkLst>
          </pc:spChg>
        </pc:sldLayoutChg>
        <pc:sldLayoutChg chg="addSp modSp">
          <pc:chgData name="Hans Gelissen (DHL SSC Maastricht)" userId="1afa8510-4eed-4b73-a29e-678838cd8acd" providerId="ADAL" clId="{B19B2550-6638-4B2A-9975-FD42BA1D712A}" dt="2023-07-06T12:06:37.725" v="177"/>
          <pc:sldLayoutMkLst>
            <pc:docMk/>
            <pc:sldMasterMk cId="346234790" sldId="2147484036"/>
            <pc:sldLayoutMk cId="1475199376" sldId="2147484041"/>
          </pc:sldLayoutMkLst>
          <pc:spChg chg="add mod">
            <ac:chgData name="Hans Gelissen (DHL SSC Maastricht)" userId="1afa8510-4eed-4b73-a29e-678838cd8acd" providerId="ADAL" clId="{B19B2550-6638-4B2A-9975-FD42BA1D712A}" dt="2023-07-06T12:06:37.725" v="177"/>
            <ac:spMkLst>
              <pc:docMk/>
              <pc:sldMasterMk cId="346234790" sldId="2147484036"/>
              <pc:sldLayoutMk cId="1475199376" sldId="2147484041"/>
              <ac:spMk id="2" creationId="{FE6EA3BD-09D9-DE6D-A697-E3E7A8CC0B5F}"/>
            </ac:spMkLst>
          </pc:spChg>
        </pc:sldLayoutChg>
      </pc:sldMasterChg>
    </pc:docChg>
  </pc:docChgLst>
  <pc:docChgLst>
    <pc:chgData name="Bente De Rijke (DHL SSC Maastricht)" userId="475646eb-b23c-43c0-b2ae-71e1fde9b74e" providerId="ADAL" clId="{2E3BFF6C-8100-4061-AB5A-AB34870E3104}"/>
    <pc:docChg chg="modSld sldOrd">
      <pc:chgData name="Bente De Rijke (DHL SSC Maastricht)" userId="475646eb-b23c-43c0-b2ae-71e1fde9b74e" providerId="ADAL" clId="{2E3BFF6C-8100-4061-AB5A-AB34870E3104}" dt="2023-04-29T09:46:15.955" v="1"/>
      <pc:docMkLst>
        <pc:docMk/>
      </pc:docMkLst>
      <pc:sldChg chg="ord">
        <pc:chgData name="Bente De Rijke (DHL SSC Maastricht)" userId="475646eb-b23c-43c0-b2ae-71e1fde9b74e" providerId="ADAL" clId="{2E3BFF6C-8100-4061-AB5A-AB34870E3104}" dt="2023-04-29T09:46:15.955" v="1"/>
        <pc:sldMkLst>
          <pc:docMk/>
          <pc:sldMk cId="3658597407" sldId="285"/>
        </pc:sldMkLst>
      </pc:sldChg>
    </pc:docChg>
  </pc:docChgLst>
  <pc:docChgLst>
    <pc:chgData name="Lange, Isabel, Z 11B4, BN" userId="5a82f4a0-b85c-48b1-b711-c32419614323" providerId="ADAL" clId="{43075AE8-C0C1-4CA9-A8E5-48E710319BA4}"/>
    <pc:docChg chg="custSel replTag delTag">
      <pc:chgData name="Lange, Isabel, Z 11B4, BN" userId="5a82f4a0-b85c-48b1-b711-c32419614323" providerId="ADAL" clId="{43075AE8-C0C1-4CA9-A8E5-48E710319BA4}" dt="2023-05-22T11:42:32.085" v="13"/>
      <pc:docMkLst>
        <pc:docMk/>
      </pc:docMkLst>
    </pc:docChg>
  </pc:docChgLst>
  <pc:docChgLst>
    <pc:chgData name="Hans Gelissen (DHL SSC Maastricht)" userId="1afa8510-4eed-4b73-a29e-678838cd8acd" providerId="ADAL" clId="{458C7CFF-E85C-44AA-AC4E-81DDA96381EF}"/>
    <pc:docChg chg="custSel modSld">
      <pc:chgData name="Hans Gelissen (DHL SSC Maastricht)" userId="1afa8510-4eed-4b73-a29e-678838cd8acd" providerId="ADAL" clId="{458C7CFF-E85C-44AA-AC4E-81DDA96381EF}" dt="2023-05-22T11:06:43.956" v="236" actId="12"/>
      <pc:docMkLst>
        <pc:docMk/>
      </pc:docMkLst>
      <pc:sldChg chg="modSp mod">
        <pc:chgData name="Hans Gelissen (DHL SSC Maastricht)" userId="1afa8510-4eed-4b73-a29e-678838cd8acd" providerId="ADAL" clId="{458C7CFF-E85C-44AA-AC4E-81DDA96381EF}" dt="2023-05-22T09:16:35.277" v="16" actId="27636"/>
        <pc:sldMkLst>
          <pc:docMk/>
          <pc:sldMk cId="2338473233" sldId="258"/>
        </pc:sldMkLst>
        <pc:spChg chg="mod">
          <ac:chgData name="Hans Gelissen (DHL SSC Maastricht)" userId="1afa8510-4eed-4b73-a29e-678838cd8acd" providerId="ADAL" clId="{458C7CFF-E85C-44AA-AC4E-81DDA96381EF}" dt="2023-05-22T09:16:35.277" v="16" actId="27636"/>
          <ac:spMkLst>
            <pc:docMk/>
            <pc:sldMk cId="2338473233" sldId="258"/>
            <ac:spMk id="3" creationId="{C01AD43D-F824-08C8-5624-31D236224EAD}"/>
          </ac:spMkLst>
        </pc:spChg>
      </pc:sldChg>
      <pc:sldChg chg="modSp mod">
        <pc:chgData name="Hans Gelissen (DHL SSC Maastricht)" userId="1afa8510-4eed-4b73-a29e-678838cd8acd" providerId="ADAL" clId="{458C7CFF-E85C-44AA-AC4E-81DDA96381EF}" dt="2023-05-22T09:25:35.587" v="21" actId="1076"/>
        <pc:sldMkLst>
          <pc:docMk/>
          <pc:sldMk cId="3658597407" sldId="285"/>
        </pc:sldMkLst>
        <pc:spChg chg="mod">
          <ac:chgData name="Hans Gelissen (DHL SSC Maastricht)" userId="1afa8510-4eed-4b73-a29e-678838cd8acd" providerId="ADAL" clId="{458C7CFF-E85C-44AA-AC4E-81DDA96381EF}" dt="2023-05-22T09:25:21.339" v="18"/>
          <ac:spMkLst>
            <pc:docMk/>
            <pc:sldMk cId="3658597407" sldId="285"/>
            <ac:spMk id="6" creationId="{F34E63A5-28A9-C358-E985-A9EFA5693590}"/>
          </ac:spMkLst>
        </pc:spChg>
        <pc:spChg chg="mod">
          <ac:chgData name="Hans Gelissen (DHL SSC Maastricht)" userId="1afa8510-4eed-4b73-a29e-678838cd8acd" providerId="ADAL" clId="{458C7CFF-E85C-44AA-AC4E-81DDA96381EF}" dt="2023-05-22T09:25:26.140" v="19"/>
          <ac:spMkLst>
            <pc:docMk/>
            <pc:sldMk cId="3658597407" sldId="285"/>
            <ac:spMk id="7" creationId="{1B9FA386-4E30-6F2E-4CB9-665C266C93CA}"/>
          </ac:spMkLst>
        </pc:spChg>
        <pc:spChg chg="mod">
          <ac:chgData name="Hans Gelissen (DHL SSC Maastricht)" userId="1afa8510-4eed-4b73-a29e-678838cd8acd" providerId="ADAL" clId="{458C7CFF-E85C-44AA-AC4E-81DDA96381EF}" dt="2023-05-22T09:25:35.587" v="21" actId="1076"/>
          <ac:spMkLst>
            <pc:docMk/>
            <pc:sldMk cId="3658597407" sldId="285"/>
            <ac:spMk id="8" creationId="{BAE2AE44-BCF0-702F-EFCC-B7D3204A0C54}"/>
          </ac:spMkLst>
        </pc:spChg>
      </pc:sldChg>
      <pc:sldChg chg="modSp mod">
        <pc:chgData name="Hans Gelissen (DHL SSC Maastricht)" userId="1afa8510-4eed-4b73-a29e-678838cd8acd" providerId="ADAL" clId="{458C7CFF-E85C-44AA-AC4E-81DDA96381EF}" dt="2023-05-08T08:10:04.760" v="1" actId="20577"/>
        <pc:sldMkLst>
          <pc:docMk/>
          <pc:sldMk cId="381633546" sldId="292"/>
        </pc:sldMkLst>
        <pc:spChg chg="mod">
          <ac:chgData name="Hans Gelissen (DHL SSC Maastricht)" userId="1afa8510-4eed-4b73-a29e-678838cd8acd" providerId="ADAL" clId="{458C7CFF-E85C-44AA-AC4E-81DDA96381EF}" dt="2023-05-08T08:10:04.760" v="1" actId="20577"/>
          <ac:spMkLst>
            <pc:docMk/>
            <pc:sldMk cId="381633546" sldId="292"/>
            <ac:spMk id="5" creationId="{B69414E4-B57E-BFD8-4E82-C768BFCB87BC}"/>
          </ac:spMkLst>
        </pc:spChg>
      </pc:sldChg>
      <pc:sldChg chg="modSp mod">
        <pc:chgData name="Hans Gelissen (DHL SSC Maastricht)" userId="1afa8510-4eed-4b73-a29e-678838cd8acd" providerId="ADAL" clId="{458C7CFF-E85C-44AA-AC4E-81DDA96381EF}" dt="2023-05-22T09:36:50.583" v="44" actId="255"/>
        <pc:sldMkLst>
          <pc:docMk/>
          <pc:sldMk cId="1219973469" sldId="293"/>
        </pc:sldMkLst>
        <pc:spChg chg="mod">
          <ac:chgData name="Hans Gelissen (DHL SSC Maastricht)" userId="1afa8510-4eed-4b73-a29e-678838cd8acd" providerId="ADAL" clId="{458C7CFF-E85C-44AA-AC4E-81DDA96381EF}" dt="2023-05-22T09:36:50.583" v="44" actId="255"/>
          <ac:spMkLst>
            <pc:docMk/>
            <pc:sldMk cId="1219973469" sldId="293"/>
            <ac:spMk id="8" creationId="{583A2DB6-F77A-117B-97CF-04289A29DEFF}"/>
          </ac:spMkLst>
        </pc:spChg>
      </pc:sldChg>
      <pc:sldChg chg="modSp mod">
        <pc:chgData name="Hans Gelissen (DHL SSC Maastricht)" userId="1afa8510-4eed-4b73-a29e-678838cd8acd" providerId="ADAL" clId="{458C7CFF-E85C-44AA-AC4E-81DDA96381EF}" dt="2023-05-22T11:06:43.956" v="236" actId="12"/>
        <pc:sldMkLst>
          <pc:docMk/>
          <pc:sldMk cId="2587913709" sldId="295"/>
        </pc:sldMkLst>
        <pc:spChg chg="mod">
          <ac:chgData name="Hans Gelissen (DHL SSC Maastricht)" userId="1afa8510-4eed-4b73-a29e-678838cd8acd" providerId="ADAL" clId="{458C7CFF-E85C-44AA-AC4E-81DDA96381EF}" dt="2023-05-22T11:06:43.956" v="236" actId="12"/>
          <ac:spMkLst>
            <pc:docMk/>
            <pc:sldMk cId="2587913709" sldId="295"/>
            <ac:spMk id="7" creationId="{6C5F6990-4AB1-3899-BD8F-FE74A6A4E3CC}"/>
          </ac:spMkLst>
        </pc:spChg>
      </pc:sldChg>
      <pc:sldChg chg="modSp mod">
        <pc:chgData name="Hans Gelissen (DHL SSC Maastricht)" userId="1afa8510-4eed-4b73-a29e-678838cd8acd" providerId="ADAL" clId="{458C7CFF-E85C-44AA-AC4E-81DDA96381EF}" dt="2023-05-22T09:36:43.534" v="42" actId="1076"/>
        <pc:sldMkLst>
          <pc:docMk/>
          <pc:sldMk cId="113975652" sldId="296"/>
        </pc:sldMkLst>
        <pc:spChg chg="mod">
          <ac:chgData name="Hans Gelissen (DHL SSC Maastricht)" userId="1afa8510-4eed-4b73-a29e-678838cd8acd" providerId="ADAL" clId="{458C7CFF-E85C-44AA-AC4E-81DDA96381EF}" dt="2023-05-22T09:36:43.534" v="42" actId="1076"/>
          <ac:spMkLst>
            <pc:docMk/>
            <pc:sldMk cId="113975652" sldId="296"/>
            <ac:spMk id="8" creationId="{583A2DB6-F77A-117B-97CF-04289A29DEFF}"/>
          </ac:spMkLst>
        </pc:spChg>
      </pc:sldChg>
      <pc:sldChg chg="modSp mod">
        <pc:chgData name="Hans Gelissen (DHL SSC Maastricht)" userId="1afa8510-4eed-4b73-a29e-678838cd8acd" providerId="ADAL" clId="{458C7CFF-E85C-44AA-AC4E-81DDA96381EF}" dt="2023-05-08T08:17:57.385" v="13" actId="20577"/>
        <pc:sldMkLst>
          <pc:docMk/>
          <pc:sldMk cId="898388269" sldId="309"/>
        </pc:sldMkLst>
        <pc:spChg chg="mod">
          <ac:chgData name="Hans Gelissen (DHL SSC Maastricht)" userId="1afa8510-4eed-4b73-a29e-678838cd8acd" providerId="ADAL" clId="{458C7CFF-E85C-44AA-AC4E-81DDA96381EF}" dt="2023-05-08T08:17:57.385" v="13" actId="20577"/>
          <ac:spMkLst>
            <pc:docMk/>
            <pc:sldMk cId="898388269" sldId="309"/>
            <ac:spMk id="16" creationId="{B22A1FF4-0925-C8C8-B5C5-DC9CE1B91DDE}"/>
          </ac:spMkLst>
        </pc:spChg>
      </pc:sldChg>
      <pc:sldChg chg="modSp mod">
        <pc:chgData name="Hans Gelissen (DHL SSC Maastricht)" userId="1afa8510-4eed-4b73-a29e-678838cd8acd" providerId="ADAL" clId="{458C7CFF-E85C-44AA-AC4E-81DDA96381EF}" dt="2023-05-08T08:18:29.683" v="14" actId="20577"/>
        <pc:sldMkLst>
          <pc:docMk/>
          <pc:sldMk cId="82311341" sldId="311"/>
        </pc:sldMkLst>
        <pc:spChg chg="mod">
          <ac:chgData name="Hans Gelissen (DHL SSC Maastricht)" userId="1afa8510-4eed-4b73-a29e-678838cd8acd" providerId="ADAL" clId="{458C7CFF-E85C-44AA-AC4E-81DDA96381EF}" dt="2023-05-08T08:18:29.683" v="14" actId="20577"/>
          <ac:spMkLst>
            <pc:docMk/>
            <pc:sldMk cId="82311341" sldId="311"/>
            <ac:spMk id="5" creationId="{214585FF-1903-6539-42B2-69629E303C37}"/>
          </ac:spMkLst>
        </pc:spChg>
      </pc:sldChg>
      <pc:sldChg chg="modSp mod">
        <pc:chgData name="Hans Gelissen (DHL SSC Maastricht)" userId="1afa8510-4eed-4b73-a29e-678838cd8acd" providerId="ADAL" clId="{458C7CFF-E85C-44AA-AC4E-81DDA96381EF}" dt="2023-05-08T08:17:52.770" v="9" actId="20577"/>
        <pc:sldMkLst>
          <pc:docMk/>
          <pc:sldMk cId="3874048404" sldId="317"/>
        </pc:sldMkLst>
        <pc:spChg chg="mod">
          <ac:chgData name="Hans Gelissen (DHL SSC Maastricht)" userId="1afa8510-4eed-4b73-a29e-678838cd8acd" providerId="ADAL" clId="{458C7CFF-E85C-44AA-AC4E-81DDA96381EF}" dt="2023-05-08T08:17:52.770" v="9" actId="20577"/>
          <ac:spMkLst>
            <pc:docMk/>
            <pc:sldMk cId="3874048404" sldId="317"/>
            <ac:spMk id="16" creationId="{B22A1FF4-0925-C8C8-B5C5-DC9CE1B91DDE}"/>
          </ac:spMkLst>
        </pc:spChg>
      </pc:sldChg>
      <pc:sldChg chg="modSp mod">
        <pc:chgData name="Hans Gelissen (DHL SSC Maastricht)" userId="1afa8510-4eed-4b73-a29e-678838cd8acd" providerId="ADAL" clId="{458C7CFF-E85C-44AA-AC4E-81DDA96381EF}" dt="2023-05-08T08:17:46.136" v="5" actId="20577"/>
        <pc:sldMkLst>
          <pc:docMk/>
          <pc:sldMk cId="2029407726" sldId="319"/>
        </pc:sldMkLst>
        <pc:spChg chg="mod">
          <ac:chgData name="Hans Gelissen (DHL SSC Maastricht)" userId="1afa8510-4eed-4b73-a29e-678838cd8acd" providerId="ADAL" clId="{458C7CFF-E85C-44AA-AC4E-81DDA96381EF}" dt="2023-05-08T08:17:46.136" v="5" actId="20577"/>
          <ac:spMkLst>
            <pc:docMk/>
            <pc:sldMk cId="2029407726" sldId="319"/>
            <ac:spMk id="16" creationId="{B22A1FF4-0925-C8C8-B5C5-DC9CE1B91DDE}"/>
          </ac:spMkLst>
        </pc:spChg>
      </pc:sldChg>
    </pc:docChg>
  </pc:docChgLst>
  <pc:docChgLst>
    <pc:chgData name="Hans Gelissen (DHL SSC Maastricht)" userId="1afa8510-4eed-4b73-a29e-678838cd8acd" providerId="ADAL" clId="{3783B829-9615-4619-9D2B-E6A2AB654372}"/>
    <pc:docChg chg="undo custSel delSld modSld addMainMaster delMainMaster modMainMaster">
      <pc:chgData name="Hans Gelissen (DHL SSC Maastricht)" userId="1afa8510-4eed-4b73-a29e-678838cd8acd" providerId="ADAL" clId="{3783B829-9615-4619-9D2B-E6A2AB654372}" dt="2023-03-14T12:38:18.656" v="1026" actId="6014"/>
      <pc:docMkLst>
        <pc:docMk/>
      </pc:docMkLst>
      <pc:sldChg chg="modSp del mod modClrScheme chgLayout">
        <pc:chgData name="Hans Gelissen (DHL SSC Maastricht)" userId="1afa8510-4eed-4b73-a29e-678838cd8acd" providerId="ADAL" clId="{3783B829-9615-4619-9D2B-E6A2AB654372}" dt="2023-03-14T10:33:23.229" v="237" actId="47"/>
        <pc:sldMkLst>
          <pc:docMk/>
          <pc:sldMk cId="3223761135" sldId="282"/>
        </pc:sldMkLst>
        <pc:spChg chg="mod ord">
          <ac:chgData name="Hans Gelissen (DHL SSC Maastricht)" userId="1afa8510-4eed-4b73-a29e-678838cd8acd" providerId="ADAL" clId="{3783B829-9615-4619-9D2B-E6A2AB654372}" dt="2023-03-14T10:31:35.943" v="230" actId="700"/>
          <ac:spMkLst>
            <pc:docMk/>
            <pc:sldMk cId="3223761135" sldId="282"/>
            <ac:spMk id="22" creationId="{6C0E8881-8451-4E57-96F1-E3D05E9ED366}"/>
          </ac:spMkLst>
        </pc:spChg>
        <pc:picChg chg="mod ord">
          <ac:chgData name="Hans Gelissen (DHL SSC Maastricht)" userId="1afa8510-4eed-4b73-a29e-678838cd8acd" providerId="ADAL" clId="{3783B829-9615-4619-9D2B-E6A2AB654372}" dt="2023-03-14T10:31:35.943" v="230" actId="700"/>
          <ac:picMkLst>
            <pc:docMk/>
            <pc:sldMk cId="3223761135" sldId="282"/>
            <ac:picMk id="23" creationId="{B73D4C54-0A1D-4989-8D6F-45CD15603F54}"/>
          </ac:picMkLst>
        </pc:picChg>
      </pc:sldChg>
      <pc:sldChg chg="modSp del mod modClrScheme chgLayout">
        <pc:chgData name="Hans Gelissen (DHL SSC Maastricht)" userId="1afa8510-4eed-4b73-a29e-678838cd8acd" providerId="ADAL" clId="{3783B829-9615-4619-9D2B-E6A2AB654372}" dt="2023-03-14T10:33:23.229" v="237" actId="47"/>
        <pc:sldMkLst>
          <pc:docMk/>
          <pc:sldMk cId="2737807208" sldId="283"/>
        </pc:sldMkLst>
        <pc:spChg chg="mod ord">
          <ac:chgData name="Hans Gelissen (DHL SSC Maastricht)" userId="1afa8510-4eed-4b73-a29e-678838cd8acd" providerId="ADAL" clId="{3783B829-9615-4619-9D2B-E6A2AB654372}" dt="2023-03-14T10:31:35.943" v="230" actId="700"/>
          <ac:spMkLst>
            <pc:docMk/>
            <pc:sldMk cId="2737807208" sldId="283"/>
            <ac:spMk id="22" creationId="{79B150B5-3946-4DA8-9260-E4FA90F79297}"/>
          </ac:spMkLst>
        </pc:spChg>
      </pc:sldChg>
      <pc:sldChg chg="addSp delSp modSp mod modClrScheme chgLayout">
        <pc:chgData name="Hans Gelissen (DHL SSC Maastricht)" userId="1afa8510-4eed-4b73-a29e-678838cd8acd" providerId="ADAL" clId="{3783B829-9615-4619-9D2B-E6A2AB654372}" dt="2023-03-14T12:27:54.723" v="1018" actId="700"/>
        <pc:sldMkLst>
          <pc:docMk/>
          <pc:sldMk cId="2219543139" sldId="284"/>
        </pc:sldMkLst>
        <pc:spChg chg="add del mod ord">
          <ac:chgData name="Hans Gelissen (DHL SSC Maastricht)" userId="1afa8510-4eed-4b73-a29e-678838cd8acd" providerId="ADAL" clId="{3783B829-9615-4619-9D2B-E6A2AB654372}" dt="2023-03-14T10:30:24.939" v="223" actId="700"/>
          <ac:spMkLst>
            <pc:docMk/>
            <pc:sldMk cId="2219543139" sldId="284"/>
            <ac:spMk id="2" creationId="{63EB41E9-A658-4734-BF53-C8909667A1C1}"/>
          </ac:spMkLst>
        </pc:spChg>
        <pc:spChg chg="add del mod ord">
          <ac:chgData name="Hans Gelissen (DHL SSC Maastricht)" userId="1afa8510-4eed-4b73-a29e-678838cd8acd" providerId="ADAL" clId="{3783B829-9615-4619-9D2B-E6A2AB654372}" dt="2023-03-14T10:32:16.897" v="234" actId="700"/>
          <ac:spMkLst>
            <pc:docMk/>
            <pc:sldMk cId="2219543139" sldId="284"/>
            <ac:spMk id="3" creationId="{257127C5-CF3E-4C1F-A407-3E98D5C0F919}"/>
          </ac:spMkLst>
        </pc:spChg>
        <pc:spChg chg="add del mod ord">
          <ac:chgData name="Hans Gelissen (DHL SSC Maastricht)" userId="1afa8510-4eed-4b73-a29e-678838cd8acd" providerId="ADAL" clId="{3783B829-9615-4619-9D2B-E6A2AB654372}" dt="2023-03-14T10:53:36.296" v="687" actId="700"/>
          <ac:spMkLst>
            <pc:docMk/>
            <pc:sldMk cId="2219543139" sldId="284"/>
            <ac:spMk id="4" creationId="{80A5AA50-BBDD-4D78-B392-58DCC6AF3808}"/>
          </ac:spMkLst>
        </pc:spChg>
        <pc:spChg chg="add del mod ord">
          <ac:chgData name="Hans Gelissen (DHL SSC Maastricht)" userId="1afa8510-4eed-4b73-a29e-678838cd8acd" providerId="ADAL" clId="{3783B829-9615-4619-9D2B-E6A2AB654372}" dt="2023-03-14T10:54:12.621" v="688" actId="700"/>
          <ac:spMkLst>
            <pc:docMk/>
            <pc:sldMk cId="2219543139" sldId="284"/>
            <ac:spMk id="5" creationId="{7359914C-CA08-465B-B362-4D1A006B309F}"/>
          </ac:spMkLst>
        </pc:spChg>
        <pc:spChg chg="add del mod ord">
          <ac:chgData name="Hans Gelissen (DHL SSC Maastricht)" userId="1afa8510-4eed-4b73-a29e-678838cd8acd" providerId="ADAL" clId="{3783B829-9615-4619-9D2B-E6A2AB654372}" dt="2023-03-14T12:20:33.429" v="949" actId="700"/>
          <ac:spMkLst>
            <pc:docMk/>
            <pc:sldMk cId="2219543139" sldId="284"/>
            <ac:spMk id="6" creationId="{85B776D8-71FA-41F7-A7D4-C3A015C3FC9B}"/>
          </ac:spMkLst>
        </pc:spChg>
        <pc:spChg chg="add del mod ord">
          <ac:chgData name="Hans Gelissen (DHL SSC Maastricht)" userId="1afa8510-4eed-4b73-a29e-678838cd8acd" providerId="ADAL" clId="{3783B829-9615-4619-9D2B-E6A2AB654372}" dt="2023-03-14T12:24:43.337" v="971" actId="478"/>
          <ac:spMkLst>
            <pc:docMk/>
            <pc:sldMk cId="2219543139" sldId="284"/>
            <ac:spMk id="7" creationId="{CCBF513F-EDCA-4574-84C9-7EB8D2BC504B}"/>
          </ac:spMkLst>
        </pc:spChg>
        <pc:spChg chg="add del mod ord">
          <ac:chgData name="Hans Gelissen (DHL SSC Maastricht)" userId="1afa8510-4eed-4b73-a29e-678838cd8acd" providerId="ADAL" clId="{3783B829-9615-4619-9D2B-E6A2AB654372}" dt="2023-03-14T12:24:52.270" v="972" actId="700"/>
          <ac:spMkLst>
            <pc:docMk/>
            <pc:sldMk cId="2219543139" sldId="284"/>
            <ac:spMk id="8" creationId="{A03D86A5-865A-4C47-9B04-6F03C06D2D3B}"/>
          </ac:spMkLst>
        </pc:spChg>
        <pc:spChg chg="add del mod ord">
          <ac:chgData name="Hans Gelissen (DHL SSC Maastricht)" userId="1afa8510-4eed-4b73-a29e-678838cd8acd" providerId="ADAL" clId="{3783B829-9615-4619-9D2B-E6A2AB654372}" dt="2023-03-14T12:24:52.270" v="972" actId="700"/>
          <ac:spMkLst>
            <pc:docMk/>
            <pc:sldMk cId="2219543139" sldId="284"/>
            <ac:spMk id="9" creationId="{22E0296D-0268-4132-ACB6-495EBA7D349C}"/>
          </ac:spMkLst>
        </pc:spChg>
        <pc:spChg chg="add del mod ord">
          <ac:chgData name="Hans Gelissen (DHL SSC Maastricht)" userId="1afa8510-4eed-4b73-a29e-678838cd8acd" providerId="ADAL" clId="{3783B829-9615-4619-9D2B-E6A2AB654372}" dt="2023-03-14T12:24:52.270" v="972" actId="700"/>
          <ac:spMkLst>
            <pc:docMk/>
            <pc:sldMk cId="2219543139" sldId="284"/>
            <ac:spMk id="10" creationId="{4ABBDDD7-5487-4342-9A17-C4CB5483FFF1}"/>
          </ac:spMkLst>
        </pc:spChg>
        <pc:spChg chg="add del mod ord">
          <ac:chgData name="Hans Gelissen (DHL SSC Maastricht)" userId="1afa8510-4eed-4b73-a29e-678838cd8acd" providerId="ADAL" clId="{3783B829-9615-4619-9D2B-E6A2AB654372}" dt="2023-03-14T12:24:52.270" v="972" actId="700"/>
          <ac:spMkLst>
            <pc:docMk/>
            <pc:sldMk cId="2219543139" sldId="284"/>
            <ac:spMk id="11" creationId="{640E5247-124B-4664-AC2D-9CB5CE5C5D7E}"/>
          </ac:spMkLst>
        </pc:spChg>
        <pc:spChg chg="add del mod ord">
          <ac:chgData name="Hans Gelissen (DHL SSC Maastricht)" userId="1afa8510-4eed-4b73-a29e-678838cd8acd" providerId="ADAL" clId="{3783B829-9615-4619-9D2B-E6A2AB654372}" dt="2023-03-14T12:24:52.270" v="972" actId="700"/>
          <ac:spMkLst>
            <pc:docMk/>
            <pc:sldMk cId="2219543139" sldId="284"/>
            <ac:spMk id="12" creationId="{4760EAB6-B489-4692-8CC9-C57C6BE33C1E}"/>
          </ac:spMkLst>
        </pc:spChg>
        <pc:spChg chg="add del mod ord">
          <ac:chgData name="Hans Gelissen (DHL SSC Maastricht)" userId="1afa8510-4eed-4b73-a29e-678838cd8acd" providerId="ADAL" clId="{3783B829-9615-4619-9D2B-E6A2AB654372}" dt="2023-03-14T12:25:06.084" v="973" actId="700"/>
          <ac:spMkLst>
            <pc:docMk/>
            <pc:sldMk cId="2219543139" sldId="284"/>
            <ac:spMk id="13" creationId="{C62484F0-7885-43D8-9CF9-B13F9674011B}"/>
          </ac:spMkLst>
        </pc:spChg>
        <pc:spChg chg="add del mod ord">
          <ac:chgData name="Hans Gelissen (DHL SSC Maastricht)" userId="1afa8510-4eed-4b73-a29e-678838cd8acd" providerId="ADAL" clId="{3783B829-9615-4619-9D2B-E6A2AB654372}" dt="2023-03-14T12:25:06.084" v="973" actId="700"/>
          <ac:spMkLst>
            <pc:docMk/>
            <pc:sldMk cId="2219543139" sldId="284"/>
            <ac:spMk id="14" creationId="{D50C8572-86A5-4A4B-B7BA-FD10A24FBF10}"/>
          </ac:spMkLst>
        </pc:spChg>
        <pc:spChg chg="del mod ord">
          <ac:chgData name="Hans Gelissen (DHL SSC Maastricht)" userId="1afa8510-4eed-4b73-a29e-678838cd8acd" providerId="ADAL" clId="{3783B829-9615-4619-9D2B-E6A2AB654372}" dt="2023-03-14T10:29:35.096" v="222" actId="700"/>
          <ac:spMkLst>
            <pc:docMk/>
            <pc:sldMk cId="2219543139" sldId="284"/>
            <ac:spMk id="15" creationId="{36BAE3D0-71D3-4780-B5CD-62064DA144FC}"/>
          </ac:spMkLst>
        </pc:spChg>
        <pc:spChg chg="add del mod ord">
          <ac:chgData name="Hans Gelissen (DHL SSC Maastricht)" userId="1afa8510-4eed-4b73-a29e-678838cd8acd" providerId="ADAL" clId="{3783B829-9615-4619-9D2B-E6A2AB654372}" dt="2023-03-14T12:25:06.084" v="973" actId="700"/>
          <ac:spMkLst>
            <pc:docMk/>
            <pc:sldMk cId="2219543139" sldId="284"/>
            <ac:spMk id="16" creationId="{48BA77DE-6489-462B-87FA-8B081D3EF942}"/>
          </ac:spMkLst>
        </pc:spChg>
        <pc:spChg chg="add del mod ord">
          <ac:chgData name="Hans Gelissen (DHL SSC Maastricht)" userId="1afa8510-4eed-4b73-a29e-678838cd8acd" providerId="ADAL" clId="{3783B829-9615-4619-9D2B-E6A2AB654372}" dt="2023-03-14T12:25:06.084" v="973" actId="700"/>
          <ac:spMkLst>
            <pc:docMk/>
            <pc:sldMk cId="2219543139" sldId="284"/>
            <ac:spMk id="17" creationId="{EEE54C11-6083-4267-928B-4C752A1357B7}"/>
          </ac:spMkLst>
        </pc:spChg>
        <pc:spChg chg="add del mod ord">
          <ac:chgData name="Hans Gelissen (DHL SSC Maastricht)" userId="1afa8510-4eed-4b73-a29e-678838cd8acd" providerId="ADAL" clId="{3783B829-9615-4619-9D2B-E6A2AB654372}" dt="2023-03-14T12:27:54.723" v="1018" actId="700"/>
          <ac:spMkLst>
            <pc:docMk/>
            <pc:sldMk cId="2219543139" sldId="284"/>
            <ac:spMk id="18" creationId="{D38483C4-3E9C-4AE5-BAE6-1DF17B841ABE}"/>
          </ac:spMkLst>
        </pc:spChg>
        <pc:spChg chg="add del mod ord">
          <ac:chgData name="Hans Gelissen (DHL SSC Maastricht)" userId="1afa8510-4eed-4b73-a29e-678838cd8acd" providerId="ADAL" clId="{3783B829-9615-4619-9D2B-E6A2AB654372}" dt="2023-03-14T12:27:54.723" v="1018" actId="700"/>
          <ac:spMkLst>
            <pc:docMk/>
            <pc:sldMk cId="2219543139" sldId="284"/>
            <ac:spMk id="19" creationId="{075A4783-BD2C-4270-A765-4A7421F884F0}"/>
          </ac:spMkLst>
        </pc:spChg>
        <pc:spChg chg="add del mod ord">
          <ac:chgData name="Hans Gelissen (DHL SSC Maastricht)" userId="1afa8510-4eed-4b73-a29e-678838cd8acd" providerId="ADAL" clId="{3783B829-9615-4619-9D2B-E6A2AB654372}" dt="2023-03-14T12:27:54.723" v="1018" actId="700"/>
          <ac:spMkLst>
            <pc:docMk/>
            <pc:sldMk cId="2219543139" sldId="284"/>
            <ac:spMk id="20" creationId="{1B792A4D-BFE4-4519-ACA0-B0869D3F7D83}"/>
          </ac:spMkLst>
        </pc:spChg>
        <pc:spChg chg="add del mod ord">
          <ac:chgData name="Hans Gelissen (DHL SSC Maastricht)" userId="1afa8510-4eed-4b73-a29e-678838cd8acd" providerId="ADAL" clId="{3783B829-9615-4619-9D2B-E6A2AB654372}" dt="2023-03-14T12:27:54.723" v="1018" actId="700"/>
          <ac:spMkLst>
            <pc:docMk/>
            <pc:sldMk cId="2219543139" sldId="284"/>
            <ac:spMk id="21" creationId="{26FD24A7-C589-490D-9568-51B2D1C21C38}"/>
          </ac:spMkLst>
        </pc:spChg>
        <pc:spChg chg="add del mod ord">
          <ac:chgData name="Hans Gelissen (DHL SSC Maastricht)" userId="1afa8510-4eed-4b73-a29e-678838cd8acd" providerId="ADAL" clId="{3783B829-9615-4619-9D2B-E6A2AB654372}" dt="2023-03-14T12:27:54.723" v="1018" actId="700"/>
          <ac:spMkLst>
            <pc:docMk/>
            <pc:sldMk cId="2219543139" sldId="284"/>
            <ac:spMk id="22" creationId="{B0F0FC03-5BE8-462B-AF89-10CD24BAB397}"/>
          </ac:spMkLst>
        </pc:spChg>
        <pc:spChg chg="add mod">
          <ac:chgData name="Hans Gelissen (DHL SSC Maastricht)" userId="1afa8510-4eed-4b73-a29e-678838cd8acd" providerId="ADAL" clId="{3783B829-9615-4619-9D2B-E6A2AB654372}" dt="2023-03-14T12:27:54.723" v="1018" actId="700"/>
          <ac:spMkLst>
            <pc:docMk/>
            <pc:sldMk cId="2219543139" sldId="284"/>
            <ac:spMk id="23" creationId="{94814C6D-1EBE-4ABC-B738-4D0D4D28108C}"/>
          </ac:spMkLst>
        </pc:spChg>
      </pc:sldChg>
      <pc:sldChg chg="modSp del mod modClrScheme chgLayout">
        <pc:chgData name="Hans Gelissen (DHL SSC Maastricht)" userId="1afa8510-4eed-4b73-a29e-678838cd8acd" providerId="ADAL" clId="{3783B829-9615-4619-9D2B-E6A2AB654372}" dt="2023-03-14T10:33:23.229" v="237" actId="47"/>
        <pc:sldMkLst>
          <pc:docMk/>
          <pc:sldMk cId="2907131151" sldId="285"/>
        </pc:sldMkLst>
        <pc:spChg chg="mod ord">
          <ac:chgData name="Hans Gelissen (DHL SSC Maastricht)" userId="1afa8510-4eed-4b73-a29e-678838cd8acd" providerId="ADAL" clId="{3783B829-9615-4619-9D2B-E6A2AB654372}" dt="2023-03-14T10:31:35.943" v="230" actId="700"/>
          <ac:spMkLst>
            <pc:docMk/>
            <pc:sldMk cId="2907131151" sldId="285"/>
            <ac:spMk id="22" creationId="{6C0E8881-8451-4E57-96F1-E3D05E9ED366}"/>
          </ac:spMkLst>
        </pc:spChg>
      </pc:sldChg>
      <pc:sldChg chg="modSp del mod modClrScheme chgLayout">
        <pc:chgData name="Hans Gelissen (DHL SSC Maastricht)" userId="1afa8510-4eed-4b73-a29e-678838cd8acd" providerId="ADAL" clId="{3783B829-9615-4619-9D2B-E6A2AB654372}" dt="2023-03-14T10:33:23.229" v="237" actId="47"/>
        <pc:sldMkLst>
          <pc:docMk/>
          <pc:sldMk cId="1318613216" sldId="286"/>
        </pc:sldMkLst>
        <pc:spChg chg="mod ord">
          <ac:chgData name="Hans Gelissen (DHL SSC Maastricht)" userId="1afa8510-4eed-4b73-a29e-678838cd8acd" providerId="ADAL" clId="{3783B829-9615-4619-9D2B-E6A2AB654372}" dt="2023-03-14T10:31:35.943" v="230" actId="700"/>
          <ac:spMkLst>
            <pc:docMk/>
            <pc:sldMk cId="1318613216" sldId="286"/>
            <ac:spMk id="22" creationId="{79B150B5-3946-4DA8-9260-E4FA90F79297}"/>
          </ac:spMkLst>
        </pc:spChg>
      </pc:sldChg>
      <pc:sldChg chg="addSp delSp modSp del mod modClrScheme chgLayout">
        <pc:chgData name="Hans Gelissen (DHL SSC Maastricht)" userId="1afa8510-4eed-4b73-a29e-678838cd8acd" providerId="ADAL" clId="{3783B829-9615-4619-9D2B-E6A2AB654372}" dt="2023-03-14T10:33:23.229" v="237" actId="47"/>
        <pc:sldMkLst>
          <pc:docMk/>
          <pc:sldMk cId="787741321" sldId="287"/>
        </pc:sldMkLst>
        <pc:spChg chg="add del mod ord">
          <ac:chgData name="Hans Gelissen (DHL SSC Maastricht)" userId="1afa8510-4eed-4b73-a29e-678838cd8acd" providerId="ADAL" clId="{3783B829-9615-4619-9D2B-E6A2AB654372}" dt="2023-03-14T10:30:44.003" v="227" actId="700"/>
          <ac:spMkLst>
            <pc:docMk/>
            <pc:sldMk cId="787741321" sldId="287"/>
            <ac:spMk id="2" creationId="{7A088A43-65D5-4AA5-B3D1-36C9E4E5238F}"/>
          </ac:spMkLst>
        </pc:spChg>
        <pc:spChg chg="add del mod ord">
          <ac:chgData name="Hans Gelissen (DHL SSC Maastricht)" userId="1afa8510-4eed-4b73-a29e-678838cd8acd" providerId="ADAL" clId="{3783B829-9615-4619-9D2B-E6A2AB654372}" dt="2023-03-14T10:30:56.075" v="228" actId="700"/>
          <ac:spMkLst>
            <pc:docMk/>
            <pc:sldMk cId="787741321" sldId="287"/>
            <ac:spMk id="4" creationId="{21BEB535-EDED-40B6-B787-3170FC110025}"/>
          </ac:spMkLst>
        </pc:spChg>
        <pc:spChg chg="add del mod ord">
          <ac:chgData name="Hans Gelissen (DHL SSC Maastricht)" userId="1afa8510-4eed-4b73-a29e-678838cd8acd" providerId="ADAL" clId="{3783B829-9615-4619-9D2B-E6A2AB654372}" dt="2023-03-14T10:31:35.943" v="230" actId="700"/>
          <ac:spMkLst>
            <pc:docMk/>
            <pc:sldMk cId="787741321" sldId="287"/>
            <ac:spMk id="5" creationId="{2E52895D-8FD0-442C-BE36-5A5879A0C2F8}"/>
          </ac:spMkLst>
        </pc:spChg>
        <pc:spChg chg="add mod ord">
          <ac:chgData name="Hans Gelissen (DHL SSC Maastricht)" userId="1afa8510-4eed-4b73-a29e-678838cd8acd" providerId="ADAL" clId="{3783B829-9615-4619-9D2B-E6A2AB654372}" dt="2023-03-14T10:31:35.943" v="230" actId="700"/>
          <ac:spMkLst>
            <pc:docMk/>
            <pc:sldMk cId="787741321" sldId="287"/>
            <ac:spMk id="6" creationId="{9FC196E2-67CC-4BB5-8DF0-E52D07B98EE7}"/>
          </ac:spMkLst>
        </pc:spChg>
        <pc:picChg chg="add del mod">
          <ac:chgData name="Hans Gelissen (DHL SSC Maastricht)" userId="1afa8510-4eed-4b73-a29e-678838cd8acd" providerId="ADAL" clId="{3783B829-9615-4619-9D2B-E6A2AB654372}" dt="2023-03-14T10:33:10.661" v="236" actId="478"/>
          <ac:picMkLst>
            <pc:docMk/>
            <pc:sldMk cId="787741321" sldId="287"/>
            <ac:picMk id="7" creationId="{2E6CA3ED-B3AF-48FF-9138-16BF20CA9054}"/>
          </ac:picMkLst>
        </pc:picChg>
      </pc:sldChg>
      <pc:sldMasterChg chg="addSldLayout delSldLayout modSldLayout">
        <pc:chgData name="Hans Gelissen (DHL SSC Maastricht)" userId="1afa8510-4eed-4b73-a29e-678838cd8acd" providerId="ADAL" clId="{3783B829-9615-4619-9D2B-E6A2AB654372}" dt="2023-03-14T10:32:28.247" v="235" actId="2696"/>
        <pc:sldMasterMkLst>
          <pc:docMk/>
          <pc:sldMasterMk cId="2253695231" sldId="2147483754"/>
        </pc:sldMasterMkLst>
        <pc:sldLayoutChg chg="add del">
          <pc:chgData name="Hans Gelissen (DHL SSC Maastricht)" userId="1afa8510-4eed-4b73-a29e-678838cd8acd" providerId="ADAL" clId="{3783B829-9615-4619-9D2B-E6A2AB654372}" dt="2023-03-14T10:31:58.948" v="232" actId="2696"/>
          <pc:sldLayoutMkLst>
            <pc:docMk/>
            <pc:sldMasterMk cId="2253695231" sldId="2147483754"/>
            <pc:sldLayoutMk cId="40428502" sldId="2147483975"/>
          </pc:sldLayoutMkLst>
        </pc:sldLayoutChg>
        <pc:sldLayoutChg chg="del mod">
          <pc:chgData name="Hans Gelissen (DHL SSC Maastricht)" userId="1afa8510-4eed-4b73-a29e-678838cd8acd" providerId="ADAL" clId="{3783B829-9615-4619-9D2B-E6A2AB654372}" dt="2023-03-14T10:32:28.247" v="235" actId="2696"/>
          <pc:sldLayoutMkLst>
            <pc:docMk/>
            <pc:sldMasterMk cId="2253695231" sldId="2147483754"/>
            <pc:sldLayoutMk cId="501379558" sldId="2147484024"/>
          </pc:sldLayoutMkLst>
        </pc:sldLayoutChg>
      </pc:sldMasterChg>
      <pc:sldMasterChg chg="del delSldLayout">
        <pc:chgData name="Hans Gelissen (DHL SSC Maastricht)" userId="1afa8510-4eed-4b73-a29e-678838cd8acd" providerId="ADAL" clId="{3783B829-9615-4619-9D2B-E6A2AB654372}" dt="2023-03-14T10:11:28.940" v="100" actId="2696"/>
        <pc:sldMasterMkLst>
          <pc:docMk/>
          <pc:sldMasterMk cId="31158695" sldId="2147483765"/>
        </pc:sldMasterMkLst>
        <pc:sldLayoutChg chg="del">
          <pc:chgData name="Hans Gelissen (DHL SSC Maastricht)" userId="1afa8510-4eed-4b73-a29e-678838cd8acd" providerId="ADAL" clId="{3783B829-9615-4619-9D2B-E6A2AB654372}" dt="2023-03-14T10:11:28.925" v="98" actId="2696"/>
          <pc:sldLayoutMkLst>
            <pc:docMk/>
            <pc:sldMasterMk cId="31158695" sldId="2147483765"/>
            <pc:sldLayoutMk cId="3456633064" sldId="2147483740"/>
          </pc:sldLayoutMkLst>
        </pc:sldLayoutChg>
        <pc:sldLayoutChg chg="del">
          <pc:chgData name="Hans Gelissen (DHL SSC Maastricht)" userId="1afa8510-4eed-4b73-a29e-678838cd8acd" providerId="ADAL" clId="{3783B829-9615-4619-9D2B-E6A2AB654372}" dt="2023-03-14T10:11:28.919" v="97" actId="2696"/>
          <pc:sldLayoutMkLst>
            <pc:docMk/>
            <pc:sldMasterMk cId="31158695" sldId="2147483765"/>
            <pc:sldLayoutMk cId="2945618025" sldId="2147483767"/>
          </pc:sldLayoutMkLst>
        </pc:sldLayoutChg>
        <pc:sldLayoutChg chg="del">
          <pc:chgData name="Hans Gelissen (DHL SSC Maastricht)" userId="1afa8510-4eed-4b73-a29e-678838cd8acd" providerId="ADAL" clId="{3783B829-9615-4619-9D2B-E6A2AB654372}" dt="2023-03-14T10:11:28.788" v="79" actId="2696"/>
          <pc:sldLayoutMkLst>
            <pc:docMk/>
            <pc:sldMasterMk cId="31158695" sldId="2147483765"/>
            <pc:sldLayoutMk cId="2950485860" sldId="2147483783"/>
          </pc:sldLayoutMkLst>
        </pc:sldLayoutChg>
        <pc:sldLayoutChg chg="del">
          <pc:chgData name="Hans Gelissen (DHL SSC Maastricht)" userId="1afa8510-4eed-4b73-a29e-678838cd8acd" providerId="ADAL" clId="{3783B829-9615-4619-9D2B-E6A2AB654372}" dt="2023-03-14T10:11:28.806" v="81" actId="2696"/>
          <pc:sldLayoutMkLst>
            <pc:docMk/>
            <pc:sldMasterMk cId="31158695" sldId="2147483765"/>
            <pc:sldLayoutMk cId="1992529386" sldId="2147483784"/>
          </pc:sldLayoutMkLst>
        </pc:sldLayoutChg>
        <pc:sldLayoutChg chg="del">
          <pc:chgData name="Hans Gelissen (DHL SSC Maastricht)" userId="1afa8510-4eed-4b73-a29e-678838cd8acd" providerId="ADAL" clId="{3783B829-9615-4619-9D2B-E6A2AB654372}" dt="2023-03-14T10:11:28.933" v="99" actId="2696"/>
          <pc:sldLayoutMkLst>
            <pc:docMk/>
            <pc:sldMasterMk cId="31158695" sldId="2147483765"/>
            <pc:sldLayoutMk cId="3995632658" sldId="2147483818"/>
          </pc:sldLayoutMkLst>
        </pc:sldLayoutChg>
        <pc:sldLayoutChg chg="del">
          <pc:chgData name="Hans Gelissen (DHL SSC Maastricht)" userId="1afa8510-4eed-4b73-a29e-678838cd8acd" providerId="ADAL" clId="{3783B829-9615-4619-9D2B-E6A2AB654372}" dt="2023-03-14T10:11:28.798" v="80" actId="2696"/>
          <pc:sldLayoutMkLst>
            <pc:docMk/>
            <pc:sldMasterMk cId="31158695" sldId="2147483765"/>
            <pc:sldLayoutMk cId="3064208592" sldId="2147483837"/>
          </pc:sldLayoutMkLst>
        </pc:sldLayoutChg>
        <pc:sldLayoutChg chg="del">
          <pc:chgData name="Hans Gelissen (DHL SSC Maastricht)" userId="1afa8510-4eed-4b73-a29e-678838cd8acd" providerId="ADAL" clId="{3783B829-9615-4619-9D2B-E6A2AB654372}" dt="2023-03-14T10:11:28.815" v="82" actId="2696"/>
          <pc:sldLayoutMkLst>
            <pc:docMk/>
            <pc:sldMasterMk cId="31158695" sldId="2147483765"/>
            <pc:sldLayoutMk cId="545118658" sldId="2147483870"/>
          </pc:sldLayoutMkLst>
        </pc:sldLayoutChg>
        <pc:sldLayoutChg chg="del">
          <pc:chgData name="Hans Gelissen (DHL SSC Maastricht)" userId="1afa8510-4eed-4b73-a29e-678838cd8acd" providerId="ADAL" clId="{3783B829-9615-4619-9D2B-E6A2AB654372}" dt="2023-03-14T10:11:28.820" v="83" actId="2696"/>
          <pc:sldLayoutMkLst>
            <pc:docMk/>
            <pc:sldMasterMk cId="31158695" sldId="2147483765"/>
            <pc:sldLayoutMk cId="1582268147" sldId="2147483871"/>
          </pc:sldLayoutMkLst>
        </pc:sldLayoutChg>
        <pc:sldLayoutChg chg="del">
          <pc:chgData name="Hans Gelissen (DHL SSC Maastricht)" userId="1afa8510-4eed-4b73-a29e-678838cd8acd" providerId="ADAL" clId="{3783B829-9615-4619-9D2B-E6A2AB654372}" dt="2023-03-14T10:11:28.828" v="84" actId="2696"/>
          <pc:sldLayoutMkLst>
            <pc:docMk/>
            <pc:sldMasterMk cId="31158695" sldId="2147483765"/>
            <pc:sldLayoutMk cId="3805107903" sldId="2147483872"/>
          </pc:sldLayoutMkLst>
        </pc:sldLayoutChg>
        <pc:sldLayoutChg chg="del">
          <pc:chgData name="Hans Gelissen (DHL SSC Maastricht)" userId="1afa8510-4eed-4b73-a29e-678838cd8acd" providerId="ADAL" clId="{3783B829-9615-4619-9D2B-E6A2AB654372}" dt="2023-03-14T10:11:28.834" v="85" actId="2696"/>
          <pc:sldLayoutMkLst>
            <pc:docMk/>
            <pc:sldMasterMk cId="31158695" sldId="2147483765"/>
            <pc:sldLayoutMk cId="2485888134" sldId="2147483920"/>
          </pc:sldLayoutMkLst>
        </pc:sldLayoutChg>
        <pc:sldLayoutChg chg="del">
          <pc:chgData name="Hans Gelissen (DHL SSC Maastricht)" userId="1afa8510-4eed-4b73-a29e-678838cd8acd" providerId="ADAL" clId="{3783B829-9615-4619-9D2B-E6A2AB654372}" dt="2023-03-14T10:11:28.840" v="86" actId="2696"/>
          <pc:sldLayoutMkLst>
            <pc:docMk/>
            <pc:sldMasterMk cId="31158695" sldId="2147483765"/>
            <pc:sldLayoutMk cId="3607067930" sldId="2147483921"/>
          </pc:sldLayoutMkLst>
        </pc:sldLayoutChg>
        <pc:sldLayoutChg chg="del">
          <pc:chgData name="Hans Gelissen (DHL SSC Maastricht)" userId="1afa8510-4eed-4b73-a29e-678838cd8acd" providerId="ADAL" clId="{3783B829-9615-4619-9D2B-E6A2AB654372}" dt="2023-03-14T10:11:28.849" v="87" actId="2696"/>
          <pc:sldLayoutMkLst>
            <pc:docMk/>
            <pc:sldMasterMk cId="31158695" sldId="2147483765"/>
            <pc:sldLayoutMk cId="2038943224" sldId="2147483922"/>
          </pc:sldLayoutMkLst>
        </pc:sldLayoutChg>
        <pc:sldLayoutChg chg="del">
          <pc:chgData name="Hans Gelissen (DHL SSC Maastricht)" userId="1afa8510-4eed-4b73-a29e-678838cd8acd" providerId="ADAL" clId="{3783B829-9615-4619-9D2B-E6A2AB654372}" dt="2023-03-14T10:11:28.854" v="88" actId="2696"/>
          <pc:sldLayoutMkLst>
            <pc:docMk/>
            <pc:sldMasterMk cId="31158695" sldId="2147483765"/>
            <pc:sldLayoutMk cId="3617648680" sldId="2147483923"/>
          </pc:sldLayoutMkLst>
        </pc:sldLayoutChg>
        <pc:sldLayoutChg chg="del">
          <pc:chgData name="Hans Gelissen (DHL SSC Maastricht)" userId="1afa8510-4eed-4b73-a29e-678838cd8acd" providerId="ADAL" clId="{3783B829-9615-4619-9D2B-E6A2AB654372}" dt="2023-03-14T10:11:28.864" v="89" actId="2696"/>
          <pc:sldLayoutMkLst>
            <pc:docMk/>
            <pc:sldMasterMk cId="31158695" sldId="2147483765"/>
            <pc:sldLayoutMk cId="45377857" sldId="2147484005"/>
          </pc:sldLayoutMkLst>
        </pc:sldLayoutChg>
        <pc:sldLayoutChg chg="del">
          <pc:chgData name="Hans Gelissen (DHL SSC Maastricht)" userId="1afa8510-4eed-4b73-a29e-678838cd8acd" providerId="ADAL" clId="{3783B829-9615-4619-9D2B-E6A2AB654372}" dt="2023-03-14T10:11:28.869" v="90" actId="2696"/>
          <pc:sldLayoutMkLst>
            <pc:docMk/>
            <pc:sldMasterMk cId="31158695" sldId="2147483765"/>
            <pc:sldLayoutMk cId="2920324277" sldId="2147484006"/>
          </pc:sldLayoutMkLst>
        </pc:sldLayoutChg>
        <pc:sldLayoutChg chg="del">
          <pc:chgData name="Hans Gelissen (DHL SSC Maastricht)" userId="1afa8510-4eed-4b73-a29e-678838cd8acd" providerId="ADAL" clId="{3783B829-9615-4619-9D2B-E6A2AB654372}" dt="2023-03-14T10:11:28.878" v="91" actId="2696"/>
          <pc:sldLayoutMkLst>
            <pc:docMk/>
            <pc:sldMasterMk cId="31158695" sldId="2147483765"/>
            <pc:sldLayoutMk cId="4039669190" sldId="2147484007"/>
          </pc:sldLayoutMkLst>
        </pc:sldLayoutChg>
        <pc:sldLayoutChg chg="del">
          <pc:chgData name="Hans Gelissen (DHL SSC Maastricht)" userId="1afa8510-4eed-4b73-a29e-678838cd8acd" providerId="ADAL" clId="{3783B829-9615-4619-9D2B-E6A2AB654372}" dt="2023-03-14T10:11:28.884" v="92" actId="2696"/>
          <pc:sldLayoutMkLst>
            <pc:docMk/>
            <pc:sldMasterMk cId="31158695" sldId="2147483765"/>
            <pc:sldLayoutMk cId="2399785295" sldId="2147484008"/>
          </pc:sldLayoutMkLst>
        </pc:sldLayoutChg>
        <pc:sldLayoutChg chg="del">
          <pc:chgData name="Hans Gelissen (DHL SSC Maastricht)" userId="1afa8510-4eed-4b73-a29e-678838cd8acd" providerId="ADAL" clId="{3783B829-9615-4619-9D2B-E6A2AB654372}" dt="2023-03-14T10:11:28.900" v="94" actId="2696"/>
          <pc:sldLayoutMkLst>
            <pc:docMk/>
            <pc:sldMasterMk cId="31158695" sldId="2147483765"/>
            <pc:sldLayoutMk cId="4104121178" sldId="2147484009"/>
          </pc:sldLayoutMkLst>
        </pc:sldLayoutChg>
        <pc:sldLayoutChg chg="del">
          <pc:chgData name="Hans Gelissen (DHL SSC Maastricht)" userId="1afa8510-4eed-4b73-a29e-678838cd8acd" providerId="ADAL" clId="{3783B829-9615-4619-9D2B-E6A2AB654372}" dt="2023-03-14T10:11:28.905" v="95" actId="2696"/>
          <pc:sldLayoutMkLst>
            <pc:docMk/>
            <pc:sldMasterMk cId="31158695" sldId="2147483765"/>
            <pc:sldLayoutMk cId="687159177" sldId="2147484010"/>
          </pc:sldLayoutMkLst>
        </pc:sldLayoutChg>
        <pc:sldLayoutChg chg="del">
          <pc:chgData name="Hans Gelissen (DHL SSC Maastricht)" userId="1afa8510-4eed-4b73-a29e-678838cd8acd" providerId="ADAL" clId="{3783B829-9615-4619-9D2B-E6A2AB654372}" dt="2023-03-14T10:11:28.914" v="96" actId="2696"/>
          <pc:sldLayoutMkLst>
            <pc:docMk/>
            <pc:sldMasterMk cId="31158695" sldId="2147483765"/>
            <pc:sldLayoutMk cId="2059647338" sldId="2147484011"/>
          </pc:sldLayoutMkLst>
        </pc:sldLayoutChg>
        <pc:sldLayoutChg chg="del">
          <pc:chgData name="Hans Gelissen (DHL SSC Maastricht)" userId="1afa8510-4eed-4b73-a29e-678838cd8acd" providerId="ADAL" clId="{3783B829-9615-4619-9D2B-E6A2AB654372}" dt="2023-03-14T10:11:28.890" v="93" actId="2696"/>
          <pc:sldLayoutMkLst>
            <pc:docMk/>
            <pc:sldMasterMk cId="31158695" sldId="2147483765"/>
            <pc:sldLayoutMk cId="459899407" sldId="2147484012"/>
          </pc:sldLayoutMkLst>
        </pc:sldLayoutChg>
      </pc:sldMasterChg>
      <pc:sldMasterChg chg="mod delSldLayout modSldLayout sldLayoutOrd">
        <pc:chgData name="Hans Gelissen (DHL SSC Maastricht)" userId="1afa8510-4eed-4b73-a29e-678838cd8acd" providerId="ADAL" clId="{3783B829-9615-4619-9D2B-E6A2AB654372}" dt="2023-03-14T12:38:18.656" v="1026" actId="6014"/>
        <pc:sldMasterMkLst>
          <pc:docMk/>
          <pc:sldMasterMk cId="727954729" sldId="2147483772"/>
        </pc:sldMasterMkLst>
        <pc:sldLayoutChg chg="ord">
          <pc:chgData name="Hans Gelissen (DHL SSC Maastricht)" userId="1afa8510-4eed-4b73-a29e-678838cd8acd" providerId="ADAL" clId="{3783B829-9615-4619-9D2B-E6A2AB654372}" dt="2023-03-14T12:37:55.916" v="1022" actId="20578"/>
          <pc:sldLayoutMkLst>
            <pc:docMk/>
            <pc:sldMasterMk cId="727954729" sldId="2147483772"/>
            <pc:sldLayoutMk cId="1997391794" sldId="2147483734"/>
          </pc:sldLayoutMkLst>
        </pc:sldLayoutChg>
        <pc:sldLayoutChg chg="ord">
          <pc:chgData name="Hans Gelissen (DHL SSC Maastricht)" userId="1afa8510-4eed-4b73-a29e-678838cd8acd" providerId="ADAL" clId="{3783B829-9615-4619-9D2B-E6A2AB654372}" dt="2023-03-14T12:37:55.916" v="1022" actId="20578"/>
          <pc:sldLayoutMkLst>
            <pc:docMk/>
            <pc:sldMasterMk cId="727954729" sldId="2147483772"/>
            <pc:sldLayoutMk cId="3070187357" sldId="2147483773"/>
          </pc:sldLayoutMkLst>
        </pc:sldLayoutChg>
        <pc:sldLayoutChg chg="mod ord">
          <pc:chgData name="Hans Gelissen (DHL SSC Maastricht)" userId="1afa8510-4eed-4b73-a29e-678838cd8acd" providerId="ADAL" clId="{3783B829-9615-4619-9D2B-E6A2AB654372}" dt="2023-03-14T12:38:01.838" v="1023" actId="6014"/>
          <pc:sldLayoutMkLst>
            <pc:docMk/>
            <pc:sldMasterMk cId="727954729" sldId="2147483772"/>
            <pc:sldLayoutMk cId="2597155215" sldId="2147483774"/>
          </pc:sldLayoutMkLst>
        </pc:sldLayoutChg>
        <pc:sldLayoutChg chg="mod">
          <pc:chgData name="Hans Gelissen (DHL SSC Maastricht)" userId="1afa8510-4eed-4b73-a29e-678838cd8acd" providerId="ADAL" clId="{3783B829-9615-4619-9D2B-E6A2AB654372}" dt="2023-03-14T12:38:06.403" v="1024" actId="6014"/>
          <pc:sldLayoutMkLst>
            <pc:docMk/>
            <pc:sldMasterMk cId="727954729" sldId="2147483772"/>
            <pc:sldLayoutMk cId="1441526566" sldId="2147484017"/>
          </pc:sldLayoutMkLst>
        </pc:sldLayoutChg>
        <pc:sldLayoutChg chg="del">
          <pc:chgData name="Hans Gelissen (DHL SSC Maastricht)" userId="1afa8510-4eed-4b73-a29e-678838cd8acd" providerId="ADAL" clId="{3783B829-9615-4619-9D2B-E6A2AB654372}" dt="2023-03-14T10:08:05.753" v="8" actId="2696"/>
          <pc:sldLayoutMkLst>
            <pc:docMk/>
            <pc:sldMasterMk cId="727954729" sldId="2147483772"/>
            <pc:sldLayoutMk cId="4112879424" sldId="2147484017"/>
          </pc:sldLayoutMkLst>
        </pc:sldLayoutChg>
        <pc:sldLayoutChg chg="del">
          <pc:chgData name="Hans Gelissen (DHL SSC Maastricht)" userId="1afa8510-4eed-4b73-a29e-678838cd8acd" providerId="ADAL" clId="{3783B829-9615-4619-9D2B-E6A2AB654372}" dt="2023-03-14T10:08:05.743" v="7" actId="2696"/>
          <pc:sldLayoutMkLst>
            <pc:docMk/>
            <pc:sldMasterMk cId="727954729" sldId="2147483772"/>
            <pc:sldLayoutMk cId="2013709759" sldId="2147484018"/>
          </pc:sldLayoutMkLst>
        </pc:sldLayoutChg>
        <pc:sldLayoutChg chg="mod">
          <pc:chgData name="Hans Gelissen (DHL SSC Maastricht)" userId="1afa8510-4eed-4b73-a29e-678838cd8acd" providerId="ADAL" clId="{3783B829-9615-4619-9D2B-E6A2AB654372}" dt="2023-03-14T12:38:13.410" v="1025" actId="6014"/>
          <pc:sldLayoutMkLst>
            <pc:docMk/>
            <pc:sldMasterMk cId="727954729" sldId="2147483772"/>
            <pc:sldLayoutMk cId="3489306472" sldId="2147484018"/>
          </pc:sldLayoutMkLst>
        </pc:sldLayoutChg>
        <pc:sldLayoutChg chg="mod">
          <pc:chgData name="Hans Gelissen (DHL SSC Maastricht)" userId="1afa8510-4eed-4b73-a29e-678838cd8acd" providerId="ADAL" clId="{3783B829-9615-4619-9D2B-E6A2AB654372}" dt="2023-03-14T12:38:18.656" v="1026" actId="6014"/>
          <pc:sldLayoutMkLst>
            <pc:docMk/>
            <pc:sldMasterMk cId="727954729" sldId="2147483772"/>
            <pc:sldLayoutMk cId="215789223" sldId="2147484019"/>
          </pc:sldLayoutMkLst>
        </pc:sldLayoutChg>
        <pc:sldLayoutChg chg="del">
          <pc:chgData name="Hans Gelissen (DHL SSC Maastricht)" userId="1afa8510-4eed-4b73-a29e-678838cd8acd" providerId="ADAL" clId="{3783B829-9615-4619-9D2B-E6A2AB654372}" dt="2023-03-14T10:08:05.738" v="6" actId="2696"/>
          <pc:sldLayoutMkLst>
            <pc:docMk/>
            <pc:sldMasterMk cId="727954729" sldId="2147483772"/>
            <pc:sldLayoutMk cId="3230136566" sldId="2147484019"/>
          </pc:sldLayoutMkLst>
        </pc:sldLayoutChg>
      </pc:sldMasterChg>
      <pc:sldMasterChg chg="del delSldLayout">
        <pc:chgData name="Hans Gelissen (DHL SSC Maastricht)" userId="1afa8510-4eed-4b73-a29e-678838cd8acd" providerId="ADAL" clId="{3783B829-9615-4619-9D2B-E6A2AB654372}" dt="2023-03-14T10:07:53.094" v="5" actId="2696"/>
        <pc:sldMasterMkLst>
          <pc:docMk/>
          <pc:sldMasterMk cId="4174525152" sldId="2147483787"/>
        </pc:sldMasterMkLst>
        <pc:sldLayoutChg chg="del">
          <pc:chgData name="Hans Gelissen (DHL SSC Maastricht)" userId="1afa8510-4eed-4b73-a29e-678838cd8acd" providerId="ADAL" clId="{3783B829-9615-4619-9D2B-E6A2AB654372}" dt="2023-03-14T10:07:53.074" v="2" actId="2696"/>
          <pc:sldLayoutMkLst>
            <pc:docMk/>
            <pc:sldMasterMk cId="4174525152" sldId="2147483787"/>
            <pc:sldLayoutMk cId="2728327263" sldId="2147483786"/>
          </pc:sldLayoutMkLst>
        </pc:sldLayoutChg>
        <pc:sldLayoutChg chg="del">
          <pc:chgData name="Hans Gelissen (DHL SSC Maastricht)" userId="1afa8510-4eed-4b73-a29e-678838cd8acd" providerId="ADAL" clId="{3783B829-9615-4619-9D2B-E6A2AB654372}" dt="2023-03-14T10:07:53.081" v="3" actId="2696"/>
          <pc:sldLayoutMkLst>
            <pc:docMk/>
            <pc:sldMasterMk cId="4174525152" sldId="2147483787"/>
            <pc:sldLayoutMk cId="3690997835" sldId="2147483800"/>
          </pc:sldLayoutMkLst>
        </pc:sldLayoutChg>
        <pc:sldLayoutChg chg="del">
          <pc:chgData name="Hans Gelissen (DHL SSC Maastricht)" userId="1afa8510-4eed-4b73-a29e-678838cd8acd" providerId="ADAL" clId="{3783B829-9615-4619-9D2B-E6A2AB654372}" dt="2023-03-14T10:07:53.086" v="4" actId="2696"/>
          <pc:sldLayoutMkLst>
            <pc:docMk/>
            <pc:sldMasterMk cId="4174525152" sldId="2147483787"/>
            <pc:sldLayoutMk cId="151018440" sldId="2147483801"/>
          </pc:sldLayoutMkLst>
        </pc:sldLayoutChg>
      </pc:sldMasterChg>
      <pc:sldMasterChg chg="del delSldLayout">
        <pc:chgData name="Hans Gelissen (DHL SSC Maastricht)" userId="1afa8510-4eed-4b73-a29e-678838cd8acd" providerId="ADAL" clId="{3783B829-9615-4619-9D2B-E6A2AB654372}" dt="2023-03-14T10:08:54.473" v="13" actId="2696"/>
        <pc:sldMasterMkLst>
          <pc:docMk/>
          <pc:sldMasterMk cId="872021773" sldId="2147483791"/>
        </pc:sldMasterMkLst>
        <pc:sldLayoutChg chg="del">
          <pc:chgData name="Hans Gelissen (DHL SSC Maastricht)" userId="1afa8510-4eed-4b73-a29e-678838cd8acd" providerId="ADAL" clId="{3783B829-9615-4619-9D2B-E6A2AB654372}" dt="2023-03-14T10:08:54.454" v="10" actId="2696"/>
          <pc:sldLayoutMkLst>
            <pc:docMk/>
            <pc:sldMasterMk cId="872021773" sldId="2147483791"/>
            <pc:sldLayoutMk cId="2354677274" sldId="2147483747"/>
          </pc:sldLayoutMkLst>
        </pc:sldLayoutChg>
        <pc:sldLayoutChg chg="del">
          <pc:chgData name="Hans Gelissen (DHL SSC Maastricht)" userId="1afa8510-4eed-4b73-a29e-678838cd8acd" providerId="ADAL" clId="{3783B829-9615-4619-9D2B-E6A2AB654372}" dt="2023-03-14T10:08:54.460" v="11" actId="2696"/>
          <pc:sldLayoutMkLst>
            <pc:docMk/>
            <pc:sldMasterMk cId="872021773" sldId="2147483791"/>
            <pc:sldLayoutMk cId="14774516" sldId="2147483749"/>
          </pc:sldLayoutMkLst>
        </pc:sldLayoutChg>
        <pc:sldLayoutChg chg="del">
          <pc:chgData name="Hans Gelissen (DHL SSC Maastricht)" userId="1afa8510-4eed-4b73-a29e-678838cd8acd" providerId="ADAL" clId="{3783B829-9615-4619-9D2B-E6A2AB654372}" dt="2023-03-14T10:08:54.466" v="12" actId="2696"/>
          <pc:sldLayoutMkLst>
            <pc:docMk/>
            <pc:sldMasterMk cId="872021773" sldId="2147483791"/>
            <pc:sldLayoutMk cId="465836321" sldId="2147483750"/>
          </pc:sldLayoutMkLst>
        </pc:sldLayoutChg>
      </pc:sldMasterChg>
      <pc:sldMasterChg chg="add del addSldLayout delSldLayout">
        <pc:chgData name="Hans Gelissen (DHL SSC Maastricht)" userId="1afa8510-4eed-4b73-a29e-678838cd8acd" providerId="ADAL" clId="{3783B829-9615-4619-9D2B-E6A2AB654372}" dt="2023-03-14T10:09:51.728" v="70" actId="2696"/>
        <pc:sldMasterMkLst>
          <pc:docMk/>
          <pc:sldMasterMk cId="3057125872" sldId="2147483795"/>
        </pc:sldMasterMkLst>
        <pc:sldLayoutChg chg="add del">
          <pc:chgData name="Hans Gelissen (DHL SSC Maastricht)" userId="1afa8510-4eed-4b73-a29e-678838cd8acd" providerId="ADAL" clId="{3783B829-9615-4619-9D2B-E6A2AB654372}" dt="2023-03-14T10:09:51.589" v="54" actId="2696"/>
          <pc:sldLayoutMkLst>
            <pc:docMk/>
            <pc:sldMasterMk cId="3057125872" sldId="2147483795"/>
            <pc:sldLayoutMk cId="411563442" sldId="2147483741"/>
          </pc:sldLayoutMkLst>
        </pc:sldLayoutChg>
        <pc:sldLayoutChg chg="add del">
          <pc:chgData name="Hans Gelissen (DHL SSC Maastricht)" userId="1afa8510-4eed-4b73-a29e-678838cd8acd" providerId="ADAL" clId="{3783B829-9615-4619-9D2B-E6A2AB654372}" dt="2023-03-14T10:09:51.600" v="55" actId="2696"/>
          <pc:sldLayoutMkLst>
            <pc:docMk/>
            <pc:sldMasterMk cId="3057125872" sldId="2147483795"/>
            <pc:sldLayoutMk cId="74026321" sldId="2147483850"/>
          </pc:sldLayoutMkLst>
        </pc:sldLayoutChg>
        <pc:sldLayoutChg chg="add del">
          <pc:chgData name="Hans Gelissen (DHL SSC Maastricht)" userId="1afa8510-4eed-4b73-a29e-678838cd8acd" providerId="ADAL" clId="{3783B829-9615-4619-9D2B-E6A2AB654372}" dt="2023-03-14T10:09:51.607" v="56" actId="2696"/>
          <pc:sldLayoutMkLst>
            <pc:docMk/>
            <pc:sldMasterMk cId="3057125872" sldId="2147483795"/>
            <pc:sldLayoutMk cId="2397447043" sldId="2147483851"/>
          </pc:sldLayoutMkLst>
        </pc:sldLayoutChg>
        <pc:sldLayoutChg chg="add del">
          <pc:chgData name="Hans Gelissen (DHL SSC Maastricht)" userId="1afa8510-4eed-4b73-a29e-678838cd8acd" providerId="ADAL" clId="{3783B829-9615-4619-9D2B-E6A2AB654372}" dt="2023-03-14T10:09:51.614" v="57" actId="2696"/>
          <pc:sldLayoutMkLst>
            <pc:docMk/>
            <pc:sldMasterMk cId="3057125872" sldId="2147483795"/>
            <pc:sldLayoutMk cId="710983192" sldId="2147483852"/>
          </pc:sldLayoutMkLst>
        </pc:sldLayoutChg>
        <pc:sldLayoutChg chg="add del">
          <pc:chgData name="Hans Gelissen (DHL SSC Maastricht)" userId="1afa8510-4eed-4b73-a29e-678838cd8acd" providerId="ADAL" clId="{3783B829-9615-4619-9D2B-E6A2AB654372}" dt="2023-03-14T10:09:51.624" v="58" actId="2696"/>
          <pc:sldLayoutMkLst>
            <pc:docMk/>
            <pc:sldMasterMk cId="3057125872" sldId="2147483795"/>
            <pc:sldLayoutMk cId="152283446" sldId="2147483891"/>
          </pc:sldLayoutMkLst>
        </pc:sldLayoutChg>
        <pc:sldLayoutChg chg="add del">
          <pc:chgData name="Hans Gelissen (DHL SSC Maastricht)" userId="1afa8510-4eed-4b73-a29e-678838cd8acd" providerId="ADAL" clId="{3783B829-9615-4619-9D2B-E6A2AB654372}" dt="2023-03-14T10:09:51.631" v="59" actId="2696"/>
          <pc:sldLayoutMkLst>
            <pc:docMk/>
            <pc:sldMasterMk cId="3057125872" sldId="2147483795"/>
            <pc:sldLayoutMk cId="3868992624" sldId="2147483892"/>
          </pc:sldLayoutMkLst>
        </pc:sldLayoutChg>
        <pc:sldLayoutChg chg="add del">
          <pc:chgData name="Hans Gelissen (DHL SSC Maastricht)" userId="1afa8510-4eed-4b73-a29e-678838cd8acd" providerId="ADAL" clId="{3783B829-9615-4619-9D2B-E6A2AB654372}" dt="2023-03-14T10:09:51.642" v="60" actId="2696"/>
          <pc:sldLayoutMkLst>
            <pc:docMk/>
            <pc:sldMasterMk cId="3057125872" sldId="2147483795"/>
            <pc:sldLayoutMk cId="2390748780" sldId="2147483893"/>
          </pc:sldLayoutMkLst>
        </pc:sldLayoutChg>
        <pc:sldLayoutChg chg="add del">
          <pc:chgData name="Hans Gelissen (DHL SSC Maastricht)" userId="1afa8510-4eed-4b73-a29e-678838cd8acd" providerId="ADAL" clId="{3783B829-9615-4619-9D2B-E6A2AB654372}" dt="2023-03-14T10:09:51.648" v="61" actId="2696"/>
          <pc:sldLayoutMkLst>
            <pc:docMk/>
            <pc:sldMasterMk cId="3057125872" sldId="2147483795"/>
            <pc:sldLayoutMk cId="2730652164" sldId="2147483894"/>
          </pc:sldLayoutMkLst>
        </pc:sldLayoutChg>
        <pc:sldLayoutChg chg="add del">
          <pc:chgData name="Hans Gelissen (DHL SSC Maastricht)" userId="1afa8510-4eed-4b73-a29e-678838cd8acd" providerId="ADAL" clId="{3783B829-9615-4619-9D2B-E6A2AB654372}" dt="2023-03-14T10:09:51.658" v="62" actId="2696"/>
          <pc:sldLayoutMkLst>
            <pc:docMk/>
            <pc:sldMasterMk cId="3057125872" sldId="2147483795"/>
            <pc:sldLayoutMk cId="2159871536" sldId="2147483942"/>
          </pc:sldLayoutMkLst>
        </pc:sldLayoutChg>
        <pc:sldLayoutChg chg="add del">
          <pc:chgData name="Hans Gelissen (DHL SSC Maastricht)" userId="1afa8510-4eed-4b73-a29e-678838cd8acd" providerId="ADAL" clId="{3783B829-9615-4619-9D2B-E6A2AB654372}" dt="2023-03-14T10:09:51.665" v="63" actId="2696"/>
          <pc:sldLayoutMkLst>
            <pc:docMk/>
            <pc:sldMasterMk cId="3057125872" sldId="2147483795"/>
            <pc:sldLayoutMk cId="2685927775" sldId="2147483943"/>
          </pc:sldLayoutMkLst>
        </pc:sldLayoutChg>
        <pc:sldLayoutChg chg="add del">
          <pc:chgData name="Hans Gelissen (DHL SSC Maastricht)" userId="1afa8510-4eed-4b73-a29e-678838cd8acd" providerId="ADAL" clId="{3783B829-9615-4619-9D2B-E6A2AB654372}" dt="2023-03-14T10:09:51.677" v="64" actId="2696"/>
          <pc:sldLayoutMkLst>
            <pc:docMk/>
            <pc:sldMasterMk cId="3057125872" sldId="2147483795"/>
            <pc:sldLayoutMk cId="2568452987" sldId="2147483944"/>
          </pc:sldLayoutMkLst>
        </pc:sldLayoutChg>
        <pc:sldLayoutChg chg="add del">
          <pc:chgData name="Hans Gelissen (DHL SSC Maastricht)" userId="1afa8510-4eed-4b73-a29e-678838cd8acd" providerId="ADAL" clId="{3783B829-9615-4619-9D2B-E6A2AB654372}" dt="2023-03-14T10:09:51.689" v="65" actId="2696"/>
          <pc:sldLayoutMkLst>
            <pc:docMk/>
            <pc:sldMasterMk cId="3057125872" sldId="2147483795"/>
            <pc:sldLayoutMk cId="280968267" sldId="2147483945"/>
          </pc:sldLayoutMkLst>
        </pc:sldLayoutChg>
        <pc:sldLayoutChg chg="add del">
          <pc:chgData name="Hans Gelissen (DHL SSC Maastricht)" userId="1afa8510-4eed-4b73-a29e-678838cd8acd" providerId="ADAL" clId="{3783B829-9615-4619-9D2B-E6A2AB654372}" dt="2023-03-14T10:09:51.695" v="66" actId="2696"/>
          <pc:sldLayoutMkLst>
            <pc:docMk/>
            <pc:sldMasterMk cId="3057125872" sldId="2147483795"/>
            <pc:sldLayoutMk cId="2123168194" sldId="2147483946"/>
          </pc:sldLayoutMkLst>
        </pc:sldLayoutChg>
        <pc:sldLayoutChg chg="add del">
          <pc:chgData name="Hans Gelissen (DHL SSC Maastricht)" userId="1afa8510-4eed-4b73-a29e-678838cd8acd" providerId="ADAL" clId="{3783B829-9615-4619-9D2B-E6A2AB654372}" dt="2023-03-14T10:09:51.705" v="67" actId="2696"/>
          <pc:sldLayoutMkLst>
            <pc:docMk/>
            <pc:sldMasterMk cId="3057125872" sldId="2147483795"/>
            <pc:sldLayoutMk cId="2260168434" sldId="2147483971"/>
          </pc:sldLayoutMkLst>
        </pc:sldLayoutChg>
        <pc:sldLayoutChg chg="add del">
          <pc:chgData name="Hans Gelissen (DHL SSC Maastricht)" userId="1afa8510-4eed-4b73-a29e-678838cd8acd" providerId="ADAL" clId="{3783B829-9615-4619-9D2B-E6A2AB654372}" dt="2023-03-14T10:09:51.711" v="68" actId="2696"/>
          <pc:sldLayoutMkLst>
            <pc:docMk/>
            <pc:sldMasterMk cId="3057125872" sldId="2147483795"/>
            <pc:sldLayoutMk cId="3664245632" sldId="2147483972"/>
          </pc:sldLayoutMkLst>
        </pc:sldLayoutChg>
        <pc:sldLayoutChg chg="add del">
          <pc:chgData name="Hans Gelissen (DHL SSC Maastricht)" userId="1afa8510-4eed-4b73-a29e-678838cd8acd" providerId="ADAL" clId="{3783B829-9615-4619-9D2B-E6A2AB654372}" dt="2023-03-14T10:09:51.718" v="69" actId="2696"/>
          <pc:sldLayoutMkLst>
            <pc:docMk/>
            <pc:sldMasterMk cId="3057125872" sldId="2147483795"/>
            <pc:sldLayoutMk cId="2363819363" sldId="2147483973"/>
          </pc:sldLayoutMkLst>
        </pc:sldLayoutChg>
      </pc:sldMasterChg>
      <pc:sldMasterChg chg="addSldLayout delSldLayout modSldLayout">
        <pc:chgData name="Hans Gelissen (DHL SSC Maastricht)" userId="1afa8510-4eed-4b73-a29e-678838cd8acd" providerId="ADAL" clId="{3783B829-9615-4619-9D2B-E6A2AB654372}" dt="2023-03-14T10:18:49.393" v="207" actId="2696"/>
        <pc:sldMasterMkLst>
          <pc:docMk/>
          <pc:sldMasterMk cId="1868986140" sldId="2147483797"/>
        </pc:sldMasterMkLst>
        <pc:sldLayoutChg chg="mod">
          <pc:chgData name="Hans Gelissen (DHL SSC Maastricht)" userId="1afa8510-4eed-4b73-a29e-678838cd8acd" providerId="ADAL" clId="{3783B829-9615-4619-9D2B-E6A2AB654372}" dt="2023-03-14T10:12:13.127" v="101" actId="6014"/>
          <pc:sldLayoutMkLst>
            <pc:docMk/>
            <pc:sldMasterMk cId="1868986140" sldId="2147483797"/>
            <pc:sldLayoutMk cId="1943396673" sldId="2147483817"/>
          </pc:sldLayoutMkLst>
        </pc:sldLayoutChg>
        <pc:sldLayoutChg chg="add del mod">
          <pc:chgData name="Hans Gelissen (DHL SSC Maastricht)" userId="1afa8510-4eed-4b73-a29e-678838cd8acd" providerId="ADAL" clId="{3783B829-9615-4619-9D2B-E6A2AB654372}" dt="2023-03-14T10:12:24.725" v="102" actId="6014"/>
          <pc:sldLayoutMkLst>
            <pc:docMk/>
            <pc:sldMasterMk cId="1868986140" sldId="2147483797"/>
            <pc:sldLayoutMk cId="2070522211" sldId="2147483819"/>
          </pc:sldLayoutMkLst>
        </pc:sldLayoutChg>
        <pc:sldLayoutChg chg="del mod">
          <pc:chgData name="Hans Gelissen (DHL SSC Maastricht)" userId="1afa8510-4eed-4b73-a29e-678838cd8acd" providerId="ADAL" clId="{3783B829-9615-4619-9D2B-E6A2AB654372}" dt="2023-03-14T10:13:45.289" v="117" actId="2696"/>
          <pc:sldLayoutMkLst>
            <pc:docMk/>
            <pc:sldMasterMk cId="1868986140" sldId="2147483797"/>
            <pc:sldLayoutMk cId="897400735" sldId="2147484028"/>
          </pc:sldLayoutMkLst>
        </pc:sldLayoutChg>
        <pc:sldLayoutChg chg="delSp modSp mod">
          <pc:chgData name="Hans Gelissen (DHL SSC Maastricht)" userId="1afa8510-4eed-4b73-a29e-678838cd8acd" providerId="ADAL" clId="{3783B829-9615-4619-9D2B-E6A2AB654372}" dt="2023-03-14T10:13:57.567" v="118"/>
          <pc:sldLayoutMkLst>
            <pc:docMk/>
            <pc:sldMasterMk cId="1868986140" sldId="2147483797"/>
            <pc:sldLayoutMk cId="3374177708" sldId="2147484029"/>
          </pc:sldLayoutMkLst>
          <pc:spChg chg="del">
            <ac:chgData name="Hans Gelissen (DHL SSC Maastricht)" userId="1afa8510-4eed-4b73-a29e-678838cd8acd" providerId="ADAL" clId="{3783B829-9615-4619-9D2B-E6A2AB654372}" dt="2023-03-14T10:12:50.421" v="105" actId="478"/>
            <ac:spMkLst>
              <pc:docMk/>
              <pc:sldMasterMk cId="1868986140" sldId="2147483797"/>
              <pc:sldLayoutMk cId="3374177708" sldId="2147484029"/>
              <ac:spMk id="3" creationId="{8CCBF2A2-4A94-4167-B811-76A9071CFD5E}"/>
            </ac:spMkLst>
          </pc:spChg>
          <pc:spChg chg="del">
            <ac:chgData name="Hans Gelissen (DHL SSC Maastricht)" userId="1afa8510-4eed-4b73-a29e-678838cd8acd" providerId="ADAL" clId="{3783B829-9615-4619-9D2B-E6A2AB654372}" dt="2023-03-14T10:13:15.114" v="114" actId="478"/>
            <ac:spMkLst>
              <pc:docMk/>
              <pc:sldMasterMk cId="1868986140" sldId="2147483797"/>
              <pc:sldLayoutMk cId="3374177708" sldId="2147484029"/>
              <ac:spMk id="6" creationId="{E5C9CD84-B7FC-41A4-A340-898AE0C16ED6}"/>
            </ac:spMkLst>
          </pc:spChg>
          <pc:spChg chg="del">
            <ac:chgData name="Hans Gelissen (DHL SSC Maastricht)" userId="1afa8510-4eed-4b73-a29e-678838cd8acd" providerId="ADAL" clId="{3783B829-9615-4619-9D2B-E6A2AB654372}" dt="2023-03-14T10:13:15.114" v="114" actId="478"/>
            <ac:spMkLst>
              <pc:docMk/>
              <pc:sldMasterMk cId="1868986140" sldId="2147483797"/>
              <pc:sldLayoutMk cId="3374177708" sldId="2147484029"/>
              <ac:spMk id="7" creationId="{2E82F2B6-D24A-416E-A187-4E49DE485402}"/>
            </ac:spMkLst>
          </pc:spChg>
          <pc:spChg chg="del">
            <ac:chgData name="Hans Gelissen (DHL SSC Maastricht)" userId="1afa8510-4eed-4b73-a29e-678838cd8acd" providerId="ADAL" clId="{3783B829-9615-4619-9D2B-E6A2AB654372}" dt="2023-03-14T10:13:15.114" v="114" actId="478"/>
            <ac:spMkLst>
              <pc:docMk/>
              <pc:sldMasterMk cId="1868986140" sldId="2147483797"/>
              <pc:sldLayoutMk cId="3374177708" sldId="2147484029"/>
              <ac:spMk id="9" creationId="{C4CCA36C-426E-4A63-9A07-DEB4BFCB3FAF}"/>
            </ac:spMkLst>
          </pc:spChg>
          <pc:spChg chg="del">
            <ac:chgData name="Hans Gelissen (DHL SSC Maastricht)" userId="1afa8510-4eed-4b73-a29e-678838cd8acd" providerId="ADAL" clId="{3783B829-9615-4619-9D2B-E6A2AB654372}" dt="2023-03-14T10:12:54.331" v="108" actId="478"/>
            <ac:spMkLst>
              <pc:docMk/>
              <pc:sldMasterMk cId="1868986140" sldId="2147483797"/>
              <pc:sldLayoutMk cId="3374177708" sldId="2147484029"/>
              <ac:spMk id="12" creationId="{DD2800E9-B245-4BF2-A06F-459F6B4DF8EC}"/>
            </ac:spMkLst>
          </pc:spChg>
          <pc:spChg chg="del">
            <ac:chgData name="Hans Gelissen (DHL SSC Maastricht)" userId="1afa8510-4eed-4b73-a29e-678838cd8acd" providerId="ADAL" clId="{3783B829-9615-4619-9D2B-E6A2AB654372}" dt="2023-03-14T10:12:57.887" v="111" actId="478"/>
            <ac:spMkLst>
              <pc:docMk/>
              <pc:sldMasterMk cId="1868986140" sldId="2147483797"/>
              <pc:sldLayoutMk cId="3374177708" sldId="2147484029"/>
              <ac:spMk id="14" creationId="{BEDB912A-94C7-48E7-9C7D-6933F5A16D89}"/>
            </ac:spMkLst>
          </pc:spChg>
          <pc:spChg chg="del">
            <ac:chgData name="Hans Gelissen (DHL SSC Maastricht)" userId="1afa8510-4eed-4b73-a29e-678838cd8acd" providerId="ADAL" clId="{3783B829-9615-4619-9D2B-E6A2AB654372}" dt="2023-03-14T10:13:02.317" v="113" actId="478"/>
            <ac:spMkLst>
              <pc:docMk/>
              <pc:sldMasterMk cId="1868986140" sldId="2147483797"/>
              <pc:sldLayoutMk cId="3374177708" sldId="2147484029"/>
              <ac:spMk id="18" creationId="{87DC52E1-61B4-41C6-9C1B-78B53F41A182}"/>
            </ac:spMkLst>
          </pc:spChg>
          <pc:spChg chg="del">
            <ac:chgData name="Hans Gelissen (DHL SSC Maastricht)" userId="1afa8510-4eed-4b73-a29e-678838cd8acd" providerId="ADAL" clId="{3783B829-9615-4619-9D2B-E6A2AB654372}" dt="2023-03-14T10:13:00.948" v="112" actId="478"/>
            <ac:spMkLst>
              <pc:docMk/>
              <pc:sldMasterMk cId="1868986140" sldId="2147483797"/>
              <pc:sldLayoutMk cId="3374177708" sldId="2147484029"/>
              <ac:spMk id="22" creationId="{5D33661A-E879-4955-BAB9-AA7B3C955E42}"/>
            </ac:spMkLst>
          </pc:spChg>
          <pc:spChg chg="del">
            <ac:chgData name="Hans Gelissen (DHL SSC Maastricht)" userId="1afa8510-4eed-4b73-a29e-678838cd8acd" providerId="ADAL" clId="{3783B829-9615-4619-9D2B-E6A2AB654372}" dt="2023-03-14T10:12:55.914" v="109" actId="478"/>
            <ac:spMkLst>
              <pc:docMk/>
              <pc:sldMasterMk cId="1868986140" sldId="2147483797"/>
              <pc:sldLayoutMk cId="3374177708" sldId="2147484029"/>
              <ac:spMk id="23" creationId="{694DBE2C-2418-448B-A0C4-52EECB64EBA6}"/>
            </ac:spMkLst>
          </pc:spChg>
          <pc:picChg chg="mod">
            <ac:chgData name="Hans Gelissen (DHL SSC Maastricht)" userId="1afa8510-4eed-4b73-a29e-678838cd8acd" providerId="ADAL" clId="{3783B829-9615-4619-9D2B-E6A2AB654372}" dt="2023-03-14T10:13:57.567" v="118"/>
            <ac:picMkLst>
              <pc:docMk/>
              <pc:sldMasterMk cId="1868986140" sldId="2147483797"/>
              <pc:sldLayoutMk cId="3374177708" sldId="2147484029"/>
              <ac:picMk id="13" creationId="{2B1BD734-7379-4346-88DF-5BB68C76BF87}"/>
            </ac:picMkLst>
          </pc:picChg>
          <pc:picChg chg="del">
            <ac:chgData name="Hans Gelissen (DHL SSC Maastricht)" userId="1afa8510-4eed-4b73-a29e-678838cd8acd" providerId="ADAL" clId="{3783B829-9615-4619-9D2B-E6A2AB654372}" dt="2023-03-14T10:12:51.081" v="106" actId="478"/>
            <ac:picMkLst>
              <pc:docMk/>
              <pc:sldMasterMk cId="1868986140" sldId="2147483797"/>
              <pc:sldLayoutMk cId="3374177708" sldId="2147484029"/>
              <ac:picMk id="24" creationId="{E4CF5DA5-4716-4782-9501-A8F5107FB956}"/>
            </ac:picMkLst>
          </pc:picChg>
          <pc:picChg chg="del">
            <ac:chgData name="Hans Gelissen (DHL SSC Maastricht)" userId="1afa8510-4eed-4b73-a29e-678838cd8acd" providerId="ADAL" clId="{3783B829-9615-4619-9D2B-E6A2AB654372}" dt="2023-03-14T10:12:52.499" v="107" actId="478"/>
            <ac:picMkLst>
              <pc:docMk/>
              <pc:sldMasterMk cId="1868986140" sldId="2147483797"/>
              <pc:sldLayoutMk cId="3374177708" sldId="2147484029"/>
              <ac:picMk id="25" creationId="{53847704-7CBE-4510-BC64-B020E265714C}"/>
            </ac:picMkLst>
          </pc:picChg>
          <pc:picChg chg="del">
            <ac:chgData name="Hans Gelissen (DHL SSC Maastricht)" userId="1afa8510-4eed-4b73-a29e-678838cd8acd" providerId="ADAL" clId="{3783B829-9615-4619-9D2B-E6A2AB654372}" dt="2023-03-14T10:12:56.948" v="110" actId="478"/>
            <ac:picMkLst>
              <pc:docMk/>
              <pc:sldMasterMk cId="1868986140" sldId="2147483797"/>
              <pc:sldLayoutMk cId="3374177708" sldId="2147484029"/>
              <ac:picMk id="1026" creationId="{4257E957-3DBE-477B-97FB-9F76589E1283}"/>
            </ac:picMkLst>
          </pc:picChg>
          <pc:picChg chg="del">
            <ac:chgData name="Hans Gelissen (DHL SSC Maastricht)" userId="1afa8510-4eed-4b73-a29e-678838cd8acd" providerId="ADAL" clId="{3783B829-9615-4619-9D2B-E6A2AB654372}" dt="2023-03-14T10:13:15.114" v="114" actId="478"/>
            <ac:picMkLst>
              <pc:docMk/>
              <pc:sldMasterMk cId="1868986140" sldId="2147483797"/>
              <pc:sldLayoutMk cId="3374177708" sldId="2147484029"/>
              <ac:picMk id="1028" creationId="{4FB6D550-E9CE-4FA3-8A58-428B76CA8F5D}"/>
            </ac:picMkLst>
          </pc:picChg>
        </pc:sldLayoutChg>
        <pc:sldLayoutChg chg="addSp delSp modSp del mod">
          <pc:chgData name="Hans Gelissen (DHL SSC Maastricht)" userId="1afa8510-4eed-4b73-a29e-678838cd8acd" providerId="ADAL" clId="{3783B829-9615-4619-9D2B-E6A2AB654372}" dt="2023-03-14T10:18:49.393" v="207" actId="2696"/>
          <pc:sldLayoutMkLst>
            <pc:docMk/>
            <pc:sldMasterMk cId="1868986140" sldId="2147483797"/>
            <pc:sldLayoutMk cId="414208771" sldId="2147484030"/>
          </pc:sldLayoutMkLst>
          <pc:spChg chg="add mod">
            <ac:chgData name="Hans Gelissen (DHL SSC Maastricht)" userId="1afa8510-4eed-4b73-a29e-678838cd8acd" providerId="ADAL" clId="{3783B829-9615-4619-9D2B-E6A2AB654372}" dt="2023-03-14T10:15:55.390" v="177" actId="1037"/>
            <ac:spMkLst>
              <pc:docMk/>
              <pc:sldMasterMk cId="1868986140" sldId="2147483797"/>
              <pc:sldLayoutMk cId="414208771" sldId="2147484030"/>
              <ac:spMk id="7" creationId="{B010EA47-4C5C-49EB-A69D-D0A21BE4735C}"/>
            </ac:spMkLst>
          </pc:spChg>
          <pc:spChg chg="mod">
            <ac:chgData name="Hans Gelissen (DHL SSC Maastricht)" userId="1afa8510-4eed-4b73-a29e-678838cd8acd" providerId="ADAL" clId="{3783B829-9615-4619-9D2B-E6A2AB654372}" dt="2023-03-14T10:15:24.825" v="130" actId="1038"/>
            <ac:spMkLst>
              <pc:docMk/>
              <pc:sldMasterMk cId="1868986140" sldId="2147483797"/>
              <pc:sldLayoutMk cId="414208771" sldId="2147484030"/>
              <ac:spMk id="8" creationId="{44129AD2-E0F3-4D9C-9F90-CC5CF8600EC5}"/>
            </ac:spMkLst>
          </pc:spChg>
          <pc:spChg chg="add mod">
            <ac:chgData name="Hans Gelissen (DHL SSC Maastricht)" userId="1afa8510-4eed-4b73-a29e-678838cd8acd" providerId="ADAL" clId="{3783B829-9615-4619-9D2B-E6A2AB654372}" dt="2023-03-14T10:15:53.900" v="173" actId="1037"/>
            <ac:spMkLst>
              <pc:docMk/>
              <pc:sldMasterMk cId="1868986140" sldId="2147483797"/>
              <pc:sldLayoutMk cId="414208771" sldId="2147484030"/>
              <ac:spMk id="9" creationId="{D51E019A-245B-4E0B-B864-90683F6AECF2}"/>
            </ac:spMkLst>
          </pc:spChg>
          <pc:spChg chg="mod">
            <ac:chgData name="Hans Gelissen (DHL SSC Maastricht)" userId="1afa8510-4eed-4b73-a29e-678838cd8acd" providerId="ADAL" clId="{3783B829-9615-4619-9D2B-E6A2AB654372}" dt="2023-03-14T10:15:24.825" v="130" actId="1038"/>
            <ac:spMkLst>
              <pc:docMk/>
              <pc:sldMasterMk cId="1868986140" sldId="2147483797"/>
              <pc:sldLayoutMk cId="414208771" sldId="2147484030"/>
              <ac:spMk id="10" creationId="{299B8E53-FFBC-4D45-AAD8-87ED27CD9185}"/>
            </ac:spMkLst>
          </pc:spChg>
          <pc:spChg chg="add mod">
            <ac:chgData name="Hans Gelissen (DHL SSC Maastricht)" userId="1afa8510-4eed-4b73-a29e-678838cd8acd" providerId="ADAL" clId="{3783B829-9615-4619-9D2B-E6A2AB654372}" dt="2023-03-14T10:15:24.825" v="130" actId="1038"/>
            <ac:spMkLst>
              <pc:docMk/>
              <pc:sldMasterMk cId="1868986140" sldId="2147483797"/>
              <pc:sldLayoutMk cId="414208771" sldId="2147484030"/>
              <ac:spMk id="12" creationId="{7015ADE4-5BC5-4D7C-87CE-574134FFD385}"/>
            </ac:spMkLst>
          </pc:spChg>
          <pc:spChg chg="add mod">
            <ac:chgData name="Hans Gelissen (DHL SSC Maastricht)" userId="1afa8510-4eed-4b73-a29e-678838cd8acd" providerId="ADAL" clId="{3783B829-9615-4619-9D2B-E6A2AB654372}" dt="2023-03-14T10:15:24.825" v="130" actId="1038"/>
            <ac:spMkLst>
              <pc:docMk/>
              <pc:sldMasterMk cId="1868986140" sldId="2147483797"/>
              <pc:sldLayoutMk cId="414208771" sldId="2147484030"/>
              <ac:spMk id="14" creationId="{713E4885-1DD0-4F60-BD87-A2BF20B02563}"/>
            </ac:spMkLst>
          </pc:spChg>
          <pc:spChg chg="add mod">
            <ac:chgData name="Hans Gelissen (DHL SSC Maastricht)" userId="1afa8510-4eed-4b73-a29e-678838cd8acd" providerId="ADAL" clId="{3783B829-9615-4619-9D2B-E6A2AB654372}" dt="2023-03-14T10:15:32.111" v="133" actId="1036"/>
            <ac:spMkLst>
              <pc:docMk/>
              <pc:sldMasterMk cId="1868986140" sldId="2147483797"/>
              <pc:sldLayoutMk cId="414208771" sldId="2147484030"/>
              <ac:spMk id="15" creationId="{51172AE3-15A4-4C0B-96BF-46AB5C7BFD17}"/>
            </ac:spMkLst>
          </pc:spChg>
          <pc:spChg chg="add mod">
            <ac:chgData name="Hans Gelissen (DHL SSC Maastricht)" userId="1afa8510-4eed-4b73-a29e-678838cd8acd" providerId="ADAL" clId="{3783B829-9615-4619-9D2B-E6A2AB654372}" dt="2023-03-14T10:15:42.264" v="134" actId="1076"/>
            <ac:spMkLst>
              <pc:docMk/>
              <pc:sldMasterMk cId="1868986140" sldId="2147483797"/>
              <pc:sldLayoutMk cId="414208771" sldId="2147484030"/>
              <ac:spMk id="16" creationId="{1A186C83-D957-408A-95BB-404DC8AFB447}"/>
            </ac:spMkLst>
          </pc:spChg>
          <pc:spChg chg="add del mod">
            <ac:chgData name="Hans Gelissen (DHL SSC Maastricht)" userId="1afa8510-4eed-4b73-a29e-678838cd8acd" providerId="ADAL" clId="{3783B829-9615-4619-9D2B-E6A2AB654372}" dt="2023-03-14T10:14:58.559" v="121" actId="478"/>
            <ac:spMkLst>
              <pc:docMk/>
              <pc:sldMasterMk cId="1868986140" sldId="2147483797"/>
              <pc:sldLayoutMk cId="414208771" sldId="2147484030"/>
              <ac:spMk id="17" creationId="{8A05C97D-3EB4-40DC-8E7D-12263DCFAEE6}"/>
            </ac:spMkLst>
          </pc:spChg>
          <pc:spChg chg="add del mod">
            <ac:chgData name="Hans Gelissen (DHL SSC Maastricht)" userId="1afa8510-4eed-4b73-a29e-678838cd8acd" providerId="ADAL" clId="{3783B829-9615-4619-9D2B-E6A2AB654372}" dt="2023-03-14T10:15:00.622" v="122" actId="478"/>
            <ac:spMkLst>
              <pc:docMk/>
              <pc:sldMasterMk cId="1868986140" sldId="2147483797"/>
              <pc:sldLayoutMk cId="414208771" sldId="2147484030"/>
              <ac:spMk id="18" creationId="{371A69F1-1DC9-4854-848E-77B3FB268524}"/>
            </ac:spMkLst>
          </pc:spChg>
          <pc:picChg chg="add del mod">
            <ac:chgData name="Hans Gelissen (DHL SSC Maastricht)" userId="1afa8510-4eed-4b73-a29e-678838cd8acd" providerId="ADAL" clId="{3783B829-9615-4619-9D2B-E6A2AB654372}" dt="2023-03-14T10:17:57.058" v="192" actId="478"/>
            <ac:picMkLst>
              <pc:docMk/>
              <pc:sldMasterMk cId="1868986140" sldId="2147483797"/>
              <pc:sldLayoutMk cId="414208771" sldId="2147484030"/>
              <ac:picMk id="31" creationId="{B8761461-1739-4422-B62E-837DE2BD05C9}"/>
            </ac:picMkLst>
          </pc:pic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3" creationId="{E7F00E61-CB13-4FDB-92C8-09428B2A2912}"/>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19" creationId="{9EF346B0-A95C-48B9-A290-06C06790D29C}"/>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1" creationId="{E21D5D22-03F2-4603-9A4B-31ADD75146BA}"/>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2" creationId="{C0932137-CE10-40E7-AF72-2AF6441D557E}"/>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3" creationId="{D5D976C0-9010-495E-8687-22D2D2339066}"/>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4" creationId="{92AA7FEA-704B-4CEB-AFF9-62776B1ED952}"/>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5" creationId="{4459D435-0084-44F4-A9FF-36D7E11B4EA7}"/>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6" creationId="{58FB8BAA-BC4E-494C-B2D3-623655122E9E}"/>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7" creationId="{DB726947-6207-4EF7-A480-EAC4AB48CB94}"/>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8" creationId="{3850983E-0922-4848-8BBD-B4F450D15804}"/>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29" creationId="{36A1BA1B-5D82-43C1-8101-C7F3DA63F151}"/>
            </ac:cxnSpMkLst>
          </pc:cxnChg>
          <pc:cxnChg chg="add mod">
            <ac:chgData name="Hans Gelissen (DHL SSC Maastricht)" userId="1afa8510-4eed-4b73-a29e-678838cd8acd" providerId="ADAL" clId="{3783B829-9615-4619-9D2B-E6A2AB654372}" dt="2023-03-14T10:16:54.714" v="189" actId="1035"/>
            <ac:cxnSpMkLst>
              <pc:docMk/>
              <pc:sldMasterMk cId="1868986140" sldId="2147483797"/>
              <pc:sldLayoutMk cId="414208771" sldId="2147484030"/>
              <ac:cxnSpMk id="30" creationId="{950664C4-7DEA-48F9-A56C-77C8E17A5A35}"/>
            </ac:cxnSpMkLst>
          </pc:cxnChg>
        </pc:sldLayoutChg>
      </pc:sldMasterChg>
      <pc:sldMasterChg chg="del delSldLayout">
        <pc:chgData name="Hans Gelissen (DHL SSC Maastricht)" userId="1afa8510-4eed-4b73-a29e-678838cd8acd" providerId="ADAL" clId="{3783B829-9615-4619-9D2B-E6A2AB654372}" dt="2023-03-14T10:07:17.778" v="1" actId="2696"/>
        <pc:sldMasterMkLst>
          <pc:docMk/>
          <pc:sldMasterMk cId="2722686442" sldId="2147484013"/>
        </pc:sldMasterMkLst>
        <pc:sldLayoutChg chg="del">
          <pc:chgData name="Hans Gelissen (DHL SSC Maastricht)" userId="1afa8510-4eed-4b73-a29e-678838cd8acd" providerId="ADAL" clId="{3783B829-9615-4619-9D2B-E6A2AB654372}" dt="2023-03-14T10:07:17.767" v="0" actId="2696"/>
          <pc:sldLayoutMkLst>
            <pc:docMk/>
            <pc:sldMasterMk cId="2722686442" sldId="2147484013"/>
            <pc:sldLayoutMk cId="2927420278" sldId="2147484014"/>
          </pc:sldLayoutMkLst>
        </pc:sldLayoutChg>
      </pc:sldMasterChg>
      <pc:sldMasterChg chg="del delSldLayout">
        <pc:chgData name="Hans Gelissen (DHL SSC Maastricht)" userId="1afa8510-4eed-4b73-a29e-678838cd8acd" providerId="ADAL" clId="{3783B829-9615-4619-9D2B-E6A2AB654372}" dt="2023-03-14T10:09:59.647" v="73" actId="2696"/>
        <pc:sldMasterMkLst>
          <pc:docMk/>
          <pc:sldMasterMk cId="2150040083" sldId="2147484015"/>
        </pc:sldMasterMkLst>
        <pc:sldLayoutChg chg="del">
          <pc:chgData name="Hans Gelissen (DHL SSC Maastricht)" userId="1afa8510-4eed-4b73-a29e-678838cd8acd" providerId="ADAL" clId="{3783B829-9615-4619-9D2B-E6A2AB654372}" dt="2023-03-14T10:09:59.637" v="72" actId="2696"/>
          <pc:sldLayoutMkLst>
            <pc:docMk/>
            <pc:sldMasterMk cId="2150040083" sldId="2147484015"/>
            <pc:sldLayoutMk cId="2210235025" sldId="2147484016"/>
          </pc:sldLayoutMkLst>
        </pc:sldLayoutChg>
      </pc:sldMasterChg>
      <pc:sldMasterChg chg="del delSldLayout">
        <pc:chgData name="Hans Gelissen (DHL SSC Maastricht)" userId="1afa8510-4eed-4b73-a29e-678838cd8acd" providerId="ADAL" clId="{3783B829-9615-4619-9D2B-E6A2AB654372}" dt="2023-03-14T10:09:23.627" v="17" actId="2696"/>
        <pc:sldMasterMkLst>
          <pc:docMk/>
          <pc:sldMasterMk cId="83650551" sldId="2147484020"/>
        </pc:sldMasterMkLst>
        <pc:sldLayoutChg chg="del">
          <pc:chgData name="Hans Gelissen (DHL SSC Maastricht)" userId="1afa8510-4eed-4b73-a29e-678838cd8acd" providerId="ADAL" clId="{3783B829-9615-4619-9D2B-E6A2AB654372}" dt="2023-03-14T10:09:16.783" v="16" actId="2696"/>
          <pc:sldLayoutMkLst>
            <pc:docMk/>
            <pc:sldMasterMk cId="83650551" sldId="2147484020"/>
            <pc:sldLayoutMk cId="1820317786" sldId="2147484021"/>
          </pc:sldLayoutMkLst>
        </pc:sldLayoutChg>
        <pc:sldLayoutChg chg="del">
          <pc:chgData name="Hans Gelissen (DHL SSC Maastricht)" userId="1afa8510-4eed-4b73-a29e-678838cd8acd" providerId="ADAL" clId="{3783B829-9615-4619-9D2B-E6A2AB654372}" dt="2023-03-14T10:09:16.743" v="15" actId="2696"/>
          <pc:sldLayoutMkLst>
            <pc:docMk/>
            <pc:sldMasterMk cId="83650551" sldId="2147484020"/>
            <pc:sldLayoutMk cId="3004330053" sldId="2147484022"/>
          </pc:sldLayoutMkLst>
        </pc:sldLayoutChg>
        <pc:sldLayoutChg chg="del">
          <pc:chgData name="Hans Gelissen (DHL SSC Maastricht)" userId="1afa8510-4eed-4b73-a29e-678838cd8acd" providerId="ADAL" clId="{3783B829-9615-4619-9D2B-E6A2AB654372}" dt="2023-03-14T10:09:16.736" v="14" actId="2696"/>
          <pc:sldLayoutMkLst>
            <pc:docMk/>
            <pc:sldMasterMk cId="83650551" sldId="2147484020"/>
            <pc:sldLayoutMk cId="2682910423" sldId="2147484023"/>
          </pc:sldLayoutMkLst>
        </pc:sldLayoutChg>
      </pc:sldMasterChg>
      <pc:sldMasterChg chg="del delSldLayout">
        <pc:chgData name="Hans Gelissen (DHL SSC Maastricht)" userId="1afa8510-4eed-4b73-a29e-678838cd8acd" providerId="ADAL" clId="{3783B829-9615-4619-9D2B-E6A2AB654372}" dt="2023-03-14T10:10:21.957" v="76" actId="2696"/>
        <pc:sldMasterMkLst>
          <pc:docMk/>
          <pc:sldMasterMk cId="1890045749" sldId="2147484025"/>
        </pc:sldMasterMkLst>
        <pc:sldLayoutChg chg="del">
          <pc:chgData name="Hans Gelissen (DHL SSC Maastricht)" userId="1afa8510-4eed-4b73-a29e-678838cd8acd" providerId="ADAL" clId="{3783B829-9615-4619-9D2B-E6A2AB654372}" dt="2023-03-14T10:10:17.157" v="75" actId="2696"/>
          <pc:sldLayoutMkLst>
            <pc:docMk/>
            <pc:sldMasterMk cId="1890045749" sldId="2147484025"/>
            <pc:sldLayoutMk cId="3662724284" sldId="2147484026"/>
          </pc:sldLayoutMkLst>
        </pc:sldLayoutChg>
        <pc:sldLayoutChg chg="del">
          <pc:chgData name="Hans Gelissen (DHL SSC Maastricht)" userId="1afa8510-4eed-4b73-a29e-678838cd8acd" providerId="ADAL" clId="{3783B829-9615-4619-9D2B-E6A2AB654372}" dt="2023-03-14T10:10:17.148" v="74" actId="2696"/>
          <pc:sldLayoutMkLst>
            <pc:docMk/>
            <pc:sldMasterMk cId="1890045749" sldId="2147484025"/>
            <pc:sldLayoutMk cId="3920329818" sldId="2147484027"/>
          </pc:sldLayoutMkLst>
        </pc:sldLayoutChg>
      </pc:sldMasterChg>
      <pc:sldMasterChg chg="delSp new mod addSldLayout delSldLayout modSldLayout">
        <pc:chgData name="Hans Gelissen (DHL SSC Maastricht)" userId="1afa8510-4eed-4b73-a29e-678838cd8acd" providerId="ADAL" clId="{3783B829-9615-4619-9D2B-E6A2AB654372}" dt="2023-03-14T10:56:34.926" v="725" actId="478"/>
        <pc:sldMasterMkLst>
          <pc:docMk/>
          <pc:sldMasterMk cId="452284608" sldId="2147484031"/>
        </pc:sldMasterMkLst>
        <pc:spChg chg="del">
          <ac:chgData name="Hans Gelissen (DHL SSC Maastricht)" userId="1afa8510-4eed-4b73-a29e-678838cd8acd" providerId="ADAL" clId="{3783B829-9615-4619-9D2B-E6A2AB654372}" dt="2023-03-14T10:18:41.106" v="195" actId="478"/>
          <ac:spMkLst>
            <pc:docMk/>
            <pc:sldMasterMk cId="452284608" sldId="2147484031"/>
            <ac:spMk id="2" creationId="{A6763497-65C8-471C-8176-A65BF03ABE94}"/>
          </ac:spMkLst>
        </pc:spChg>
        <pc:spChg chg="del">
          <ac:chgData name="Hans Gelissen (DHL SSC Maastricht)" userId="1afa8510-4eed-4b73-a29e-678838cd8acd" providerId="ADAL" clId="{3783B829-9615-4619-9D2B-E6A2AB654372}" dt="2023-03-14T10:18:41.106" v="195" actId="478"/>
          <ac:spMkLst>
            <pc:docMk/>
            <pc:sldMasterMk cId="452284608" sldId="2147484031"/>
            <ac:spMk id="3" creationId="{773A34DB-BD05-4E48-A60C-060AD6ABE570}"/>
          </ac:spMkLst>
        </pc:spChg>
        <pc:spChg chg="del">
          <ac:chgData name="Hans Gelissen (DHL SSC Maastricht)" userId="1afa8510-4eed-4b73-a29e-678838cd8acd" providerId="ADAL" clId="{3783B829-9615-4619-9D2B-E6A2AB654372}" dt="2023-03-14T10:18:41.106" v="195" actId="478"/>
          <ac:spMkLst>
            <pc:docMk/>
            <pc:sldMasterMk cId="452284608" sldId="2147484031"/>
            <ac:spMk id="4" creationId="{F47B312D-1F62-4842-9E70-9AF4FFCF88D7}"/>
          </ac:spMkLst>
        </pc:spChg>
        <pc:spChg chg="del">
          <ac:chgData name="Hans Gelissen (DHL SSC Maastricht)" userId="1afa8510-4eed-4b73-a29e-678838cd8acd" providerId="ADAL" clId="{3783B829-9615-4619-9D2B-E6A2AB654372}" dt="2023-03-14T10:18:41.106" v="195" actId="478"/>
          <ac:spMkLst>
            <pc:docMk/>
            <pc:sldMasterMk cId="452284608" sldId="2147484031"/>
            <ac:spMk id="5" creationId="{C027105A-A43E-417A-BA5C-26328898C9E6}"/>
          </ac:spMkLst>
        </pc:spChg>
        <pc:spChg chg="del">
          <ac:chgData name="Hans Gelissen (DHL SSC Maastricht)" userId="1afa8510-4eed-4b73-a29e-678838cd8acd" providerId="ADAL" clId="{3783B829-9615-4619-9D2B-E6A2AB654372}" dt="2023-03-14T10:18:41.106" v="195" actId="478"/>
          <ac:spMkLst>
            <pc:docMk/>
            <pc:sldMasterMk cId="452284608" sldId="2147484031"/>
            <ac:spMk id="6" creationId="{49854940-EA44-4CA8-9763-AA8B242DB425}"/>
          </ac:spMkLst>
        </pc:spChg>
        <pc:sldLayoutChg chg="addSp delSp modSp mod">
          <pc:chgData name="Hans Gelissen (DHL SSC Maastricht)" userId="1afa8510-4eed-4b73-a29e-678838cd8acd" providerId="ADAL" clId="{3783B829-9615-4619-9D2B-E6A2AB654372}" dt="2023-03-14T10:56:34.926" v="725" actId="478"/>
          <pc:sldLayoutMkLst>
            <pc:docMk/>
            <pc:sldMasterMk cId="452284608" sldId="2147484031"/>
            <pc:sldLayoutMk cId="2137232494" sldId="2147484032"/>
          </pc:sldLayoutMkLst>
          <pc:spChg chg="mod">
            <ac:chgData name="Hans Gelissen (DHL SSC Maastricht)" userId="1afa8510-4eed-4b73-a29e-678838cd8acd" providerId="ADAL" clId="{3783B829-9615-4619-9D2B-E6A2AB654372}" dt="2023-03-14T10:56:14.976" v="723" actId="1076"/>
            <ac:spMkLst>
              <pc:docMk/>
              <pc:sldMasterMk cId="452284608" sldId="2147484031"/>
              <pc:sldLayoutMk cId="2137232494" sldId="2147484032"/>
              <ac:spMk id="15" creationId="{51172AE3-15A4-4C0B-96BF-46AB5C7BFD17}"/>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34" creationId="{2EBEDB48-71DF-4C2A-BD77-35E19189232A}"/>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35" creationId="{AE1AC300-EF3E-4835-A1EE-CC9189A68697}"/>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36" creationId="{FE7532A3-4115-4C43-86A2-4F3AC8ECA9D7}"/>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37" creationId="{B86D9B73-C442-47E1-9A52-2E28EC8DAFF6}"/>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38" creationId="{12ED333C-C5F0-4CFB-ACBC-4936367BC83B}"/>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39" creationId="{99DA13B5-76A7-48B9-90A9-59F55AD9ADDD}"/>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0" creationId="{6C43807A-9E2E-4495-A2CD-0D95193D095E}"/>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1" creationId="{6ADFD19A-177A-4E11-A30D-48652BCEED46}"/>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2" creationId="{980C309C-D98D-4BC0-80B4-67AA859D274D}"/>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3" creationId="{0974C0AE-34FE-4874-B073-4B8F931D8CED}"/>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4" creationId="{E636AD03-9F8C-4878-9B97-81093452BAED}"/>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5" creationId="{CEC08D68-1AC0-41CC-ADD8-6795B8AAF42F}"/>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6" creationId="{E50CC4E4-EDA0-41B5-B88D-71FC89952B1C}"/>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7" creationId="{A5A3A191-85B6-4670-99F3-1EA861DC0AD1}"/>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8" creationId="{51DE0272-9A64-4ACA-A959-E9D9327EDDDA}"/>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49" creationId="{7AC17985-9557-47E3-883B-9C1A059C4346}"/>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50" creationId="{AD98F76F-696D-42BF-BC66-8A3E4C48FC35}"/>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51" creationId="{D5EF076B-F970-4D8B-AD38-B9C59ADC8426}"/>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52" creationId="{CB190908-0989-4D8C-AC1D-3D3D6F5C9112}"/>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53" creationId="{CEB4089E-02F9-4938-BA48-D51C7B5DB12D}"/>
            </ac:spMkLst>
          </pc:spChg>
          <pc:spChg chg="add mod">
            <ac:chgData name="Hans Gelissen (DHL SSC Maastricht)" userId="1afa8510-4eed-4b73-a29e-678838cd8acd" providerId="ADAL" clId="{3783B829-9615-4619-9D2B-E6A2AB654372}" dt="2023-03-14T10:54:59.647" v="706"/>
            <ac:spMkLst>
              <pc:docMk/>
              <pc:sldMasterMk cId="452284608" sldId="2147484031"/>
              <pc:sldLayoutMk cId="2137232494" sldId="2147484032"/>
              <ac:spMk id="54" creationId="{71C11793-2A76-44FA-804F-84A389E02A8C}"/>
            </ac:spMkLst>
          </pc:spChg>
          <pc:grpChg chg="add del mod">
            <ac:chgData name="Hans Gelissen (DHL SSC Maastricht)" userId="1afa8510-4eed-4b73-a29e-678838cd8acd" providerId="ADAL" clId="{3783B829-9615-4619-9D2B-E6A2AB654372}" dt="2023-03-14T10:56:34.926" v="725" actId="478"/>
            <ac:grpSpMkLst>
              <pc:docMk/>
              <pc:sldMasterMk cId="452284608" sldId="2147484031"/>
              <pc:sldLayoutMk cId="2137232494" sldId="2147484032"/>
              <ac:grpSpMk id="31" creationId="{86664D8D-2155-49C0-82FC-3F769FF62226}"/>
            </ac:grpSpMkLst>
          </pc:grpChg>
          <pc:grpChg chg="add del mod">
            <ac:chgData name="Hans Gelissen (DHL SSC Maastricht)" userId="1afa8510-4eed-4b73-a29e-678838cd8acd" providerId="ADAL" clId="{3783B829-9615-4619-9D2B-E6A2AB654372}" dt="2023-03-14T10:56:34.926" v="725" actId="478"/>
            <ac:grpSpMkLst>
              <pc:docMk/>
              <pc:sldMasterMk cId="452284608" sldId="2147484031"/>
              <pc:sldLayoutMk cId="2137232494" sldId="2147484032"/>
              <ac:grpSpMk id="32" creationId="{A599401B-63AD-46BF-A939-ED121B42EBE7}"/>
            </ac:grpSpMkLst>
          </pc:grpChg>
          <pc:grpChg chg="add del mod">
            <ac:chgData name="Hans Gelissen (DHL SSC Maastricht)" userId="1afa8510-4eed-4b73-a29e-678838cd8acd" providerId="ADAL" clId="{3783B829-9615-4619-9D2B-E6A2AB654372}" dt="2023-03-14T10:56:29.899" v="724" actId="1076"/>
            <ac:grpSpMkLst>
              <pc:docMk/>
              <pc:sldMasterMk cId="452284608" sldId="2147484031"/>
              <pc:sldLayoutMk cId="2137232494" sldId="2147484032"/>
              <ac:grpSpMk id="33" creationId="{42364757-2F22-41CE-BB9C-3743F572EC2C}"/>
            </ac:grpSpMkLst>
          </pc:grpChg>
        </pc:sldLayoutChg>
        <pc:sldLayoutChg chg="new del replId">
          <pc:chgData name="Hans Gelissen (DHL SSC Maastricht)" userId="1afa8510-4eed-4b73-a29e-678838cd8acd" providerId="ADAL" clId="{3783B829-9615-4619-9D2B-E6A2AB654372}" dt="2023-03-14T10:18:45.689" v="196" actId="2696"/>
          <pc:sldLayoutMkLst>
            <pc:docMk/>
            <pc:sldMasterMk cId="452284608" sldId="2147484031"/>
            <pc:sldLayoutMk cId="3480670543" sldId="2147484032"/>
          </pc:sldLayoutMkLst>
        </pc:sldLayoutChg>
        <pc:sldLayoutChg chg="new del replId">
          <pc:chgData name="Hans Gelissen (DHL SSC Maastricht)" userId="1afa8510-4eed-4b73-a29e-678838cd8acd" providerId="ADAL" clId="{3783B829-9615-4619-9D2B-E6A2AB654372}" dt="2023-03-14T10:18:45.697" v="197" actId="2696"/>
          <pc:sldLayoutMkLst>
            <pc:docMk/>
            <pc:sldMasterMk cId="452284608" sldId="2147484031"/>
            <pc:sldLayoutMk cId="3486769959" sldId="2147484033"/>
          </pc:sldLayoutMkLst>
        </pc:sldLayoutChg>
        <pc:sldLayoutChg chg="new del replId">
          <pc:chgData name="Hans Gelissen (DHL SSC Maastricht)" userId="1afa8510-4eed-4b73-a29e-678838cd8acd" providerId="ADAL" clId="{3783B829-9615-4619-9D2B-E6A2AB654372}" dt="2023-03-14T10:18:45.711" v="198" actId="2696"/>
          <pc:sldLayoutMkLst>
            <pc:docMk/>
            <pc:sldMasterMk cId="452284608" sldId="2147484031"/>
            <pc:sldLayoutMk cId="2364260378" sldId="2147484034"/>
          </pc:sldLayoutMkLst>
        </pc:sldLayoutChg>
        <pc:sldLayoutChg chg="new del replId">
          <pc:chgData name="Hans Gelissen (DHL SSC Maastricht)" userId="1afa8510-4eed-4b73-a29e-678838cd8acd" providerId="ADAL" clId="{3783B829-9615-4619-9D2B-E6A2AB654372}" dt="2023-03-14T10:18:45.730" v="199" actId="2696"/>
          <pc:sldLayoutMkLst>
            <pc:docMk/>
            <pc:sldMasterMk cId="452284608" sldId="2147484031"/>
            <pc:sldLayoutMk cId="1581097845" sldId="2147484035"/>
          </pc:sldLayoutMkLst>
        </pc:sldLayoutChg>
        <pc:sldLayoutChg chg="new del replId">
          <pc:chgData name="Hans Gelissen (DHL SSC Maastricht)" userId="1afa8510-4eed-4b73-a29e-678838cd8acd" providerId="ADAL" clId="{3783B829-9615-4619-9D2B-E6A2AB654372}" dt="2023-03-14T10:18:45.744" v="200" actId="2696"/>
          <pc:sldLayoutMkLst>
            <pc:docMk/>
            <pc:sldMasterMk cId="452284608" sldId="2147484031"/>
            <pc:sldLayoutMk cId="2006226617" sldId="2147484036"/>
          </pc:sldLayoutMkLst>
        </pc:sldLayoutChg>
        <pc:sldLayoutChg chg="new del replId">
          <pc:chgData name="Hans Gelissen (DHL SSC Maastricht)" userId="1afa8510-4eed-4b73-a29e-678838cd8acd" providerId="ADAL" clId="{3783B829-9615-4619-9D2B-E6A2AB654372}" dt="2023-03-14T10:18:45.757" v="201" actId="2696"/>
          <pc:sldLayoutMkLst>
            <pc:docMk/>
            <pc:sldMasterMk cId="452284608" sldId="2147484031"/>
            <pc:sldLayoutMk cId="3716752623" sldId="2147484037"/>
          </pc:sldLayoutMkLst>
        </pc:sldLayoutChg>
        <pc:sldLayoutChg chg="new del replId">
          <pc:chgData name="Hans Gelissen (DHL SSC Maastricht)" userId="1afa8510-4eed-4b73-a29e-678838cd8acd" providerId="ADAL" clId="{3783B829-9615-4619-9D2B-E6A2AB654372}" dt="2023-03-14T10:18:45.775" v="202" actId="2696"/>
          <pc:sldLayoutMkLst>
            <pc:docMk/>
            <pc:sldMasterMk cId="452284608" sldId="2147484031"/>
            <pc:sldLayoutMk cId="863183892" sldId="2147484038"/>
          </pc:sldLayoutMkLst>
        </pc:sldLayoutChg>
        <pc:sldLayoutChg chg="new del replId">
          <pc:chgData name="Hans Gelissen (DHL SSC Maastricht)" userId="1afa8510-4eed-4b73-a29e-678838cd8acd" providerId="ADAL" clId="{3783B829-9615-4619-9D2B-E6A2AB654372}" dt="2023-03-14T10:18:45.790" v="203" actId="2696"/>
          <pc:sldLayoutMkLst>
            <pc:docMk/>
            <pc:sldMasterMk cId="452284608" sldId="2147484031"/>
            <pc:sldLayoutMk cId="2571475881" sldId="2147484039"/>
          </pc:sldLayoutMkLst>
        </pc:sldLayoutChg>
        <pc:sldLayoutChg chg="new del replId">
          <pc:chgData name="Hans Gelissen (DHL SSC Maastricht)" userId="1afa8510-4eed-4b73-a29e-678838cd8acd" providerId="ADAL" clId="{3783B829-9615-4619-9D2B-E6A2AB654372}" dt="2023-03-14T10:18:45.806" v="204" actId="2696"/>
          <pc:sldLayoutMkLst>
            <pc:docMk/>
            <pc:sldMasterMk cId="452284608" sldId="2147484031"/>
            <pc:sldLayoutMk cId="1974787309" sldId="2147484040"/>
          </pc:sldLayoutMkLst>
        </pc:sldLayoutChg>
        <pc:sldLayoutChg chg="new del replId">
          <pc:chgData name="Hans Gelissen (DHL SSC Maastricht)" userId="1afa8510-4eed-4b73-a29e-678838cd8acd" providerId="ADAL" clId="{3783B829-9615-4619-9D2B-E6A2AB654372}" dt="2023-03-14T10:18:45.821" v="205" actId="2696"/>
          <pc:sldLayoutMkLst>
            <pc:docMk/>
            <pc:sldMasterMk cId="452284608" sldId="2147484031"/>
            <pc:sldLayoutMk cId="201821608" sldId="2147484041"/>
          </pc:sldLayoutMkLst>
        </pc:sldLayoutChg>
        <pc:sldLayoutChg chg="new del replId">
          <pc:chgData name="Hans Gelissen (DHL SSC Maastricht)" userId="1afa8510-4eed-4b73-a29e-678838cd8acd" providerId="ADAL" clId="{3783B829-9615-4619-9D2B-E6A2AB654372}" dt="2023-03-14T10:18:45.831" v="206" actId="2696"/>
          <pc:sldLayoutMkLst>
            <pc:docMk/>
            <pc:sldMasterMk cId="452284608" sldId="2147484031"/>
            <pc:sldLayoutMk cId="1170841079" sldId="2147484042"/>
          </pc:sldLayoutMkLst>
        </pc:sldLayoutChg>
      </pc:sldMasterChg>
      <pc:sldMasterChg chg="mod modSldLayout">
        <pc:chgData name="Hans Gelissen (DHL SSC Maastricht)" userId="1afa8510-4eed-4b73-a29e-678838cd8acd" providerId="ADAL" clId="{3783B829-9615-4619-9D2B-E6A2AB654372}" dt="2023-03-14T12:30:04.139" v="1021" actId="6014"/>
        <pc:sldMasterMkLst>
          <pc:docMk/>
          <pc:sldMasterMk cId="323497015" sldId="2147484033"/>
        </pc:sldMasterMkLst>
        <pc:sldLayoutChg chg="addSp delSp modSp mod">
          <pc:chgData name="Hans Gelissen (DHL SSC Maastricht)" userId="1afa8510-4eed-4b73-a29e-678838cd8acd" providerId="ADAL" clId="{3783B829-9615-4619-9D2B-E6A2AB654372}" dt="2023-03-14T12:29:54.637" v="1020" actId="6014"/>
          <pc:sldLayoutMkLst>
            <pc:docMk/>
            <pc:sldMasterMk cId="323497015" sldId="2147484033"/>
            <pc:sldLayoutMk cId="3607588471" sldId="2147484034"/>
          </pc:sldLayoutMkLst>
          <pc:spChg chg="add del">
            <ac:chgData name="Hans Gelissen (DHL SSC Maastricht)" userId="1afa8510-4eed-4b73-a29e-678838cd8acd" providerId="ADAL" clId="{3783B829-9615-4619-9D2B-E6A2AB654372}" dt="2023-03-14T12:16:45.124" v="789" actId="11529"/>
            <ac:spMkLst>
              <pc:docMk/>
              <pc:sldMasterMk cId="323497015" sldId="2147484033"/>
              <pc:sldLayoutMk cId="3607588471" sldId="2147484034"/>
              <ac:spMk id="2" creationId="{56C70592-C900-4A68-B564-27B264B2EAC7}"/>
            </ac:spMkLst>
          </pc:spChg>
          <pc:spChg chg="add del mod">
            <ac:chgData name="Hans Gelissen (DHL SSC Maastricht)" userId="1afa8510-4eed-4b73-a29e-678838cd8acd" providerId="ADAL" clId="{3783B829-9615-4619-9D2B-E6A2AB654372}" dt="2023-03-14T12:16:52.791" v="791" actId="478"/>
            <ac:spMkLst>
              <pc:docMk/>
              <pc:sldMasterMk cId="323497015" sldId="2147484033"/>
              <pc:sldLayoutMk cId="3607588471" sldId="2147484034"/>
              <ac:spMk id="4" creationId="{EE29A1E9-1613-49E6-9C0E-75FE2E428D88}"/>
            </ac:spMkLst>
          </pc:spChg>
          <pc:spChg chg="add del">
            <ac:chgData name="Hans Gelissen (DHL SSC Maastricht)" userId="1afa8510-4eed-4b73-a29e-678838cd8acd" providerId="ADAL" clId="{3783B829-9615-4619-9D2B-E6A2AB654372}" dt="2023-03-14T12:16:57.754" v="792" actId="11529"/>
            <ac:spMkLst>
              <pc:docMk/>
              <pc:sldMasterMk cId="323497015" sldId="2147484033"/>
              <pc:sldLayoutMk cId="3607588471" sldId="2147484034"/>
              <ac:spMk id="5" creationId="{14970D06-0C84-4F07-BEA5-D5BD0C348ECD}"/>
            </ac:spMkLst>
          </pc:spChg>
          <pc:spChg chg="add mod">
            <ac:chgData name="Hans Gelissen (DHL SSC Maastricht)" userId="1afa8510-4eed-4b73-a29e-678838cd8acd" providerId="ADAL" clId="{3783B829-9615-4619-9D2B-E6A2AB654372}" dt="2023-03-14T12:20:14.212" v="946" actId="1076"/>
            <ac:spMkLst>
              <pc:docMk/>
              <pc:sldMasterMk cId="323497015" sldId="2147484033"/>
              <pc:sldLayoutMk cId="3607588471" sldId="2147484034"/>
              <ac:spMk id="6" creationId="{7378D8CD-C3E3-4637-8184-7FC938EE9CFF}"/>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7" creationId="{B010EA47-4C5C-49EB-A69D-D0A21BE4735C}"/>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8" creationId="{44129AD2-E0F3-4D9C-9F90-CC5CF8600EC5}"/>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9" creationId="{D51E019A-245B-4E0B-B864-90683F6AECF2}"/>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10" creationId="{299B8E53-FFBC-4D45-AAD8-87ED27CD9185}"/>
            </ac:spMkLst>
          </pc:spChg>
          <pc:spChg chg="mod">
            <ac:chgData name="Hans Gelissen (DHL SSC Maastricht)" userId="1afa8510-4eed-4b73-a29e-678838cd8acd" providerId="ADAL" clId="{3783B829-9615-4619-9D2B-E6A2AB654372}" dt="2023-03-14T12:17:36.133" v="840" actId="1076"/>
            <ac:spMkLst>
              <pc:docMk/>
              <pc:sldMasterMk cId="323497015" sldId="2147484033"/>
              <pc:sldLayoutMk cId="3607588471" sldId="2147484034"/>
              <ac:spMk id="11" creationId="{C478DBB3-8CBA-44B0-8448-554392206DAD}"/>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12" creationId="{7015ADE4-5BC5-4D7C-87CE-574134FFD385}"/>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14" creationId="{713E4885-1DD0-4F60-BD87-A2BF20B02563}"/>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15" creationId="{51172AE3-15A4-4C0B-96BF-46AB5C7BFD17}"/>
            </ac:spMkLst>
          </pc:spChg>
          <pc:spChg chg="del">
            <ac:chgData name="Hans Gelissen (DHL SSC Maastricht)" userId="1afa8510-4eed-4b73-a29e-678838cd8acd" providerId="ADAL" clId="{3783B829-9615-4619-9D2B-E6A2AB654372}" dt="2023-03-14T10:26:50.532" v="209" actId="478"/>
            <ac:spMkLst>
              <pc:docMk/>
              <pc:sldMasterMk cId="323497015" sldId="2147484033"/>
              <pc:sldLayoutMk cId="3607588471" sldId="2147484034"/>
              <ac:spMk id="16" creationId="{1A186C83-D957-408A-95BB-404DC8AFB447}"/>
            </ac:spMkLst>
          </pc:spChg>
          <pc:spChg chg="add del mod">
            <ac:chgData name="Hans Gelissen (DHL SSC Maastricht)" userId="1afa8510-4eed-4b73-a29e-678838cd8acd" providerId="ADAL" clId="{3783B829-9615-4619-9D2B-E6A2AB654372}" dt="2023-03-14T12:23:37.083" v="969" actId="478"/>
            <ac:spMkLst>
              <pc:docMk/>
              <pc:sldMasterMk cId="323497015" sldId="2147484033"/>
              <pc:sldLayoutMk cId="3607588471" sldId="2147484034"/>
              <ac:spMk id="17" creationId="{6CFAF1F3-BA17-4BC1-8BDB-114B3B9E9C9C}"/>
            </ac:spMkLst>
          </pc:spChg>
          <pc:spChg chg="del mod ord">
            <ac:chgData name="Hans Gelissen (DHL SSC Maastricht)" userId="1afa8510-4eed-4b73-a29e-678838cd8acd" providerId="ADAL" clId="{3783B829-9615-4619-9D2B-E6A2AB654372}" dt="2023-03-14T12:23:03.911" v="965" actId="478"/>
            <ac:spMkLst>
              <pc:docMk/>
              <pc:sldMasterMk cId="323497015" sldId="2147484033"/>
              <pc:sldLayoutMk cId="3607588471" sldId="2147484034"/>
              <ac:spMk id="20" creationId="{00000000-0000-0000-0000-000000000000}"/>
            </ac:spMkLst>
          </pc:spChg>
          <pc:spChg chg="add mod">
            <ac:chgData name="Hans Gelissen (DHL SSC Maastricht)" userId="1afa8510-4eed-4b73-a29e-678838cd8acd" providerId="ADAL" clId="{3783B829-9615-4619-9D2B-E6A2AB654372}" dt="2023-03-14T12:20:14.212" v="946" actId="1076"/>
            <ac:spMkLst>
              <pc:docMk/>
              <pc:sldMasterMk cId="323497015" sldId="2147484033"/>
              <pc:sldLayoutMk cId="3607588471" sldId="2147484034"/>
              <ac:spMk id="33" creationId="{5B6B688A-4321-4967-ADCE-3DD62CCF28D1}"/>
            </ac:spMkLst>
          </pc:spChg>
          <pc:spChg chg="add mod">
            <ac:chgData name="Hans Gelissen (DHL SSC Maastricht)" userId="1afa8510-4eed-4b73-a29e-678838cd8acd" providerId="ADAL" clId="{3783B829-9615-4619-9D2B-E6A2AB654372}" dt="2023-03-14T12:20:14.212" v="946" actId="1076"/>
            <ac:spMkLst>
              <pc:docMk/>
              <pc:sldMasterMk cId="323497015" sldId="2147484033"/>
              <pc:sldLayoutMk cId="3607588471" sldId="2147484034"/>
              <ac:spMk id="34" creationId="{10A46619-F1F2-43A8-85D6-A1D7F402C17E}"/>
            </ac:spMkLst>
          </pc:spChg>
          <pc:spChg chg="add mod">
            <ac:chgData name="Hans Gelissen (DHL SSC Maastricht)" userId="1afa8510-4eed-4b73-a29e-678838cd8acd" providerId="ADAL" clId="{3783B829-9615-4619-9D2B-E6A2AB654372}" dt="2023-03-14T12:20:14.212" v="946" actId="1076"/>
            <ac:spMkLst>
              <pc:docMk/>
              <pc:sldMasterMk cId="323497015" sldId="2147484033"/>
              <pc:sldLayoutMk cId="3607588471" sldId="2147484034"/>
              <ac:spMk id="35" creationId="{A04A0385-DE7C-4017-A042-7DF11670E515}"/>
            </ac:spMkLst>
          </pc:spChg>
          <pc:spChg chg="add mod">
            <ac:chgData name="Hans Gelissen (DHL SSC Maastricht)" userId="1afa8510-4eed-4b73-a29e-678838cd8acd" providerId="ADAL" clId="{3783B829-9615-4619-9D2B-E6A2AB654372}" dt="2023-03-14T12:23:04.390" v="966"/>
            <ac:spMkLst>
              <pc:docMk/>
              <pc:sldMasterMk cId="323497015" sldId="2147484033"/>
              <pc:sldLayoutMk cId="3607588471" sldId="2147484034"/>
              <ac:spMk id="36" creationId="{AD590678-8D03-4720-9986-71EBEAE6C458}"/>
            </ac:spMkLst>
          </pc:spChg>
          <pc:spChg chg="add mod">
            <ac:chgData name="Hans Gelissen (DHL SSC Maastricht)" userId="1afa8510-4eed-4b73-a29e-678838cd8acd" providerId="ADAL" clId="{3783B829-9615-4619-9D2B-E6A2AB654372}" dt="2023-03-14T12:23:37.445" v="970"/>
            <ac:spMkLst>
              <pc:docMk/>
              <pc:sldMasterMk cId="323497015" sldId="2147484033"/>
              <pc:sldLayoutMk cId="3607588471" sldId="2147484034"/>
              <ac:spMk id="37" creationId="{1F9277E1-AD60-4D2D-BE69-54968C565961}"/>
            </ac:spMkLst>
          </pc:spChg>
          <pc:picChg chg="del">
            <ac:chgData name="Hans Gelissen (DHL SSC Maastricht)" userId="1afa8510-4eed-4b73-a29e-678838cd8acd" providerId="ADAL" clId="{3783B829-9615-4619-9D2B-E6A2AB654372}" dt="2023-03-14T10:28:33.396" v="216" actId="478"/>
            <ac:picMkLst>
              <pc:docMk/>
              <pc:sldMasterMk cId="323497015" sldId="2147484033"/>
              <pc:sldLayoutMk cId="3607588471" sldId="2147484034"/>
              <ac:picMk id="13" creationId="{2B1BD734-7379-4346-88DF-5BB68C76BF87}"/>
            </ac:picMkLst>
          </pc:picChg>
          <pc:picChg chg="add del mod">
            <ac:chgData name="Hans Gelissen (DHL SSC Maastricht)" userId="1afa8510-4eed-4b73-a29e-678838cd8acd" providerId="ADAL" clId="{3783B829-9615-4619-9D2B-E6A2AB654372}" dt="2023-03-14T10:28:49.222" v="219" actId="478"/>
            <ac:picMkLst>
              <pc:docMk/>
              <pc:sldMasterMk cId="323497015" sldId="2147484033"/>
              <pc:sldLayoutMk cId="3607588471" sldId="2147484034"/>
              <ac:picMk id="31" creationId="{C2300703-B026-4E7C-A464-79C15829A5C0}"/>
            </ac:picMkLst>
          </pc:picChg>
          <pc:picChg chg="add mod">
            <ac:chgData name="Hans Gelissen (DHL SSC Maastricht)" userId="1afa8510-4eed-4b73-a29e-678838cd8acd" providerId="ADAL" clId="{3783B829-9615-4619-9D2B-E6A2AB654372}" dt="2023-03-14T10:28:49.665" v="220"/>
            <ac:picMkLst>
              <pc:docMk/>
              <pc:sldMasterMk cId="323497015" sldId="2147484033"/>
              <pc:sldLayoutMk cId="3607588471" sldId="2147484034"/>
              <ac:picMk id="32" creationId="{1E14698F-2DFE-4ABC-8776-F961CD13BF3C}"/>
            </ac:picMkLst>
          </pc:pic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3" creationId="{E7F00E61-CB13-4FDB-92C8-09428B2A2912}"/>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19" creationId="{9EF346B0-A95C-48B9-A290-06C06790D29C}"/>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1" creationId="{E21D5D22-03F2-4603-9A4B-31ADD75146BA}"/>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2" creationId="{C0932137-CE10-40E7-AF72-2AF6441D557E}"/>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3" creationId="{D5D976C0-9010-495E-8687-22D2D2339066}"/>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4" creationId="{92AA7FEA-704B-4CEB-AFF9-62776B1ED952}"/>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5" creationId="{4459D435-0084-44F4-A9FF-36D7E11B4EA7}"/>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6" creationId="{58FB8BAA-BC4E-494C-B2D3-623655122E9E}"/>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7" creationId="{DB726947-6207-4EF7-A480-EAC4AB48CB94}"/>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8" creationId="{3850983E-0922-4848-8BBD-B4F450D15804}"/>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29" creationId="{36A1BA1B-5D82-43C1-8101-C7F3DA63F151}"/>
            </ac:cxnSpMkLst>
          </pc:cxnChg>
          <pc:cxnChg chg="del">
            <ac:chgData name="Hans Gelissen (DHL SSC Maastricht)" userId="1afa8510-4eed-4b73-a29e-678838cd8acd" providerId="ADAL" clId="{3783B829-9615-4619-9D2B-E6A2AB654372}" dt="2023-03-14T10:26:50.532" v="209" actId="478"/>
            <ac:cxnSpMkLst>
              <pc:docMk/>
              <pc:sldMasterMk cId="323497015" sldId="2147484033"/>
              <pc:sldLayoutMk cId="3607588471" sldId="2147484034"/>
              <ac:cxnSpMk id="30" creationId="{950664C4-7DEA-48F9-A56C-77C8E17A5A35}"/>
            </ac:cxnSpMkLst>
          </pc:cxnChg>
        </pc:sldLayoutChg>
        <pc:sldLayoutChg chg="addSp delSp modSp mod">
          <pc:chgData name="Hans Gelissen (DHL SSC Maastricht)" userId="1afa8510-4eed-4b73-a29e-678838cd8acd" providerId="ADAL" clId="{3783B829-9615-4619-9D2B-E6A2AB654372}" dt="2023-03-14T12:30:04.139" v="1021" actId="6014"/>
          <pc:sldLayoutMkLst>
            <pc:docMk/>
            <pc:sldMasterMk cId="323497015" sldId="2147484033"/>
            <pc:sldLayoutMk cId="1454208401" sldId="2147484035"/>
          </pc:sldLayoutMkLst>
          <pc:spChg chg="add mod">
            <ac:chgData name="Hans Gelissen (DHL SSC Maastricht)" userId="1afa8510-4eed-4b73-a29e-678838cd8acd" providerId="ADAL" clId="{3783B829-9615-4619-9D2B-E6A2AB654372}" dt="2023-03-14T10:27:56.474" v="213"/>
            <ac:spMkLst>
              <pc:docMk/>
              <pc:sldMasterMk cId="323497015" sldId="2147484033"/>
              <pc:sldLayoutMk cId="1454208401" sldId="2147484035"/>
              <ac:spMk id="5" creationId="{11CD8C8C-63CF-4943-89D3-B5BCA0F16C98}"/>
            </ac:spMkLst>
          </pc:spChg>
          <pc:spChg chg="add mod">
            <ac:chgData name="Hans Gelissen (DHL SSC Maastricht)" userId="1afa8510-4eed-4b73-a29e-678838cd8acd" providerId="ADAL" clId="{3783B829-9615-4619-9D2B-E6A2AB654372}" dt="2023-03-14T10:27:56.474" v="213"/>
            <ac:spMkLst>
              <pc:docMk/>
              <pc:sldMasterMk cId="323497015" sldId="2147484033"/>
              <pc:sldLayoutMk cId="1454208401" sldId="2147484035"/>
              <ac:spMk id="6" creationId="{77FBCCC6-2047-406D-B33D-317698474BB6}"/>
            </ac:spMkLst>
          </pc:spChg>
          <pc:spChg chg="add mod">
            <ac:chgData name="Hans Gelissen (DHL SSC Maastricht)" userId="1afa8510-4eed-4b73-a29e-678838cd8acd" providerId="ADAL" clId="{3783B829-9615-4619-9D2B-E6A2AB654372}" dt="2023-03-14T10:27:56.474" v="213"/>
            <ac:spMkLst>
              <pc:docMk/>
              <pc:sldMasterMk cId="323497015" sldId="2147484033"/>
              <pc:sldLayoutMk cId="1454208401" sldId="2147484035"/>
              <ac:spMk id="7" creationId="{12D982B6-0289-439C-A43F-7FF6B3744AD9}"/>
            </ac:spMkLst>
          </pc:spChg>
          <pc:spChg chg="add mod">
            <ac:chgData name="Hans Gelissen (DHL SSC Maastricht)" userId="1afa8510-4eed-4b73-a29e-678838cd8acd" providerId="ADAL" clId="{3783B829-9615-4619-9D2B-E6A2AB654372}" dt="2023-03-14T10:27:56.474" v="213"/>
            <ac:spMkLst>
              <pc:docMk/>
              <pc:sldMasterMk cId="323497015" sldId="2147484033"/>
              <pc:sldLayoutMk cId="1454208401" sldId="2147484035"/>
              <ac:spMk id="8" creationId="{FEB8FEBE-B61F-4667-AB15-3E01E9EFF369}"/>
            </ac:spMkLst>
          </pc:spChg>
          <pc:spChg chg="add del mod">
            <ac:chgData name="Hans Gelissen (DHL SSC Maastricht)" userId="1afa8510-4eed-4b73-a29e-678838cd8acd" providerId="ADAL" clId="{3783B829-9615-4619-9D2B-E6A2AB654372}" dt="2023-03-14T12:20:18.975" v="947" actId="478"/>
            <ac:spMkLst>
              <pc:docMk/>
              <pc:sldMasterMk cId="323497015" sldId="2147484033"/>
              <pc:sldLayoutMk cId="1454208401" sldId="2147484035"/>
              <ac:spMk id="9" creationId="{1D880A48-2B81-46F6-868E-C4507009DDE6}"/>
            </ac:spMkLst>
          </pc:spChg>
          <pc:spChg chg="add del mod">
            <ac:chgData name="Hans Gelissen (DHL SSC Maastricht)" userId="1afa8510-4eed-4b73-a29e-678838cd8acd" providerId="ADAL" clId="{3783B829-9615-4619-9D2B-E6A2AB654372}" dt="2023-03-14T12:20:18.975" v="947" actId="478"/>
            <ac:spMkLst>
              <pc:docMk/>
              <pc:sldMasterMk cId="323497015" sldId="2147484033"/>
              <pc:sldLayoutMk cId="1454208401" sldId="2147484035"/>
              <ac:spMk id="10" creationId="{F3AD1A7B-4F22-44EC-8388-8FD5E418875A}"/>
            </ac:spMkLst>
          </pc:spChg>
          <pc:spChg chg="add del mod">
            <ac:chgData name="Hans Gelissen (DHL SSC Maastricht)" userId="1afa8510-4eed-4b73-a29e-678838cd8acd" providerId="ADAL" clId="{3783B829-9615-4619-9D2B-E6A2AB654372}" dt="2023-03-14T12:20:18.975" v="947" actId="478"/>
            <ac:spMkLst>
              <pc:docMk/>
              <pc:sldMasterMk cId="323497015" sldId="2147484033"/>
              <pc:sldLayoutMk cId="1454208401" sldId="2147484035"/>
              <ac:spMk id="12" creationId="{F16AEBEF-9EE1-44DF-BBA5-A0AE7E9C88F7}"/>
            </ac:spMkLst>
          </pc:spChg>
          <pc:spChg chg="add del mod">
            <ac:chgData name="Hans Gelissen (DHL SSC Maastricht)" userId="1afa8510-4eed-4b73-a29e-678838cd8acd" providerId="ADAL" clId="{3783B829-9615-4619-9D2B-E6A2AB654372}" dt="2023-03-14T12:20:18.975" v="947" actId="478"/>
            <ac:spMkLst>
              <pc:docMk/>
              <pc:sldMasterMk cId="323497015" sldId="2147484033"/>
              <pc:sldLayoutMk cId="1454208401" sldId="2147484035"/>
              <ac:spMk id="14" creationId="{25C07D22-2FDA-487D-BD82-79AC96D56E5B}"/>
            </ac:spMkLst>
          </pc:spChg>
          <pc:spChg chg="add del mod">
            <ac:chgData name="Hans Gelissen (DHL SSC Maastricht)" userId="1afa8510-4eed-4b73-a29e-678838cd8acd" providerId="ADAL" clId="{3783B829-9615-4619-9D2B-E6A2AB654372}" dt="2023-03-14T12:20:18.975" v="947" actId="478"/>
            <ac:spMkLst>
              <pc:docMk/>
              <pc:sldMasterMk cId="323497015" sldId="2147484033"/>
              <pc:sldLayoutMk cId="1454208401" sldId="2147484035"/>
              <ac:spMk id="15" creationId="{FFE6D7F0-81AA-44F5-B537-6E01C1155F4A}"/>
            </ac:spMkLst>
          </pc:spChg>
          <pc:spChg chg="add mod">
            <ac:chgData name="Hans Gelissen (DHL SSC Maastricht)" userId="1afa8510-4eed-4b73-a29e-678838cd8acd" providerId="ADAL" clId="{3783B829-9615-4619-9D2B-E6A2AB654372}" dt="2023-03-14T12:20:19.741" v="948"/>
            <ac:spMkLst>
              <pc:docMk/>
              <pc:sldMasterMk cId="323497015" sldId="2147484033"/>
              <pc:sldLayoutMk cId="1454208401" sldId="2147484035"/>
              <ac:spMk id="16" creationId="{543B43F8-9408-4DE6-ADB1-0F55458A9A22}"/>
            </ac:spMkLst>
          </pc:spChg>
          <pc:spChg chg="add mod">
            <ac:chgData name="Hans Gelissen (DHL SSC Maastricht)" userId="1afa8510-4eed-4b73-a29e-678838cd8acd" providerId="ADAL" clId="{3783B829-9615-4619-9D2B-E6A2AB654372}" dt="2023-03-14T12:20:19.741" v="948"/>
            <ac:spMkLst>
              <pc:docMk/>
              <pc:sldMasterMk cId="323497015" sldId="2147484033"/>
              <pc:sldLayoutMk cId="1454208401" sldId="2147484035"/>
              <ac:spMk id="17" creationId="{94772D6F-1FC4-4476-A44A-08C36474BFAC}"/>
            </ac:spMkLst>
          </pc:spChg>
          <pc:spChg chg="add mod">
            <ac:chgData name="Hans Gelissen (DHL SSC Maastricht)" userId="1afa8510-4eed-4b73-a29e-678838cd8acd" providerId="ADAL" clId="{3783B829-9615-4619-9D2B-E6A2AB654372}" dt="2023-03-14T12:20:19.741" v="948"/>
            <ac:spMkLst>
              <pc:docMk/>
              <pc:sldMasterMk cId="323497015" sldId="2147484033"/>
              <pc:sldLayoutMk cId="1454208401" sldId="2147484035"/>
              <ac:spMk id="18" creationId="{512809E2-9DA5-447E-955E-34FB70D95FD4}"/>
            </ac:spMkLst>
          </pc:spChg>
          <pc:spChg chg="add mod">
            <ac:chgData name="Hans Gelissen (DHL SSC Maastricht)" userId="1afa8510-4eed-4b73-a29e-678838cd8acd" providerId="ADAL" clId="{3783B829-9615-4619-9D2B-E6A2AB654372}" dt="2023-03-14T12:20:19.741" v="948"/>
            <ac:spMkLst>
              <pc:docMk/>
              <pc:sldMasterMk cId="323497015" sldId="2147484033"/>
              <pc:sldLayoutMk cId="1454208401" sldId="2147484035"/>
              <ac:spMk id="19" creationId="{B7A3AD81-254E-4701-8E10-052F58E25B96}"/>
            </ac:spMkLst>
          </pc:spChg>
          <pc:spChg chg="del mod">
            <ac:chgData name="Hans Gelissen (DHL SSC Maastricht)" userId="1afa8510-4eed-4b73-a29e-678838cd8acd" providerId="ADAL" clId="{3783B829-9615-4619-9D2B-E6A2AB654372}" dt="2023-03-14T12:22:57.718" v="964" actId="478"/>
            <ac:spMkLst>
              <pc:docMk/>
              <pc:sldMasterMk cId="323497015" sldId="2147484033"/>
              <pc:sldLayoutMk cId="1454208401" sldId="2147484035"/>
              <ac:spMk id="20" creationId="{00000000-0000-0000-0000-000000000000}"/>
            </ac:spMkLst>
          </pc:spChg>
          <pc:spChg chg="add mod">
            <ac:chgData name="Hans Gelissen (DHL SSC Maastricht)" userId="1afa8510-4eed-4b73-a29e-678838cd8acd" providerId="ADAL" clId="{3783B829-9615-4619-9D2B-E6A2AB654372}" dt="2023-03-14T12:23:32.178" v="968" actId="1076"/>
            <ac:spMkLst>
              <pc:docMk/>
              <pc:sldMasterMk cId="323497015" sldId="2147484033"/>
              <pc:sldLayoutMk cId="1454208401" sldId="2147484035"/>
              <ac:spMk id="21" creationId="{90FA61AE-BB1F-440B-B9B9-EEF289294A6B}"/>
            </ac:spMkLst>
          </pc:spChg>
          <pc:spChg chg="add mod">
            <ac:chgData name="Hans Gelissen (DHL SSC Maastricht)" userId="1afa8510-4eed-4b73-a29e-678838cd8acd" providerId="ADAL" clId="{3783B829-9615-4619-9D2B-E6A2AB654372}" dt="2023-03-14T12:22:53.959" v="963" actId="1076"/>
            <ac:spMkLst>
              <pc:docMk/>
              <pc:sldMasterMk cId="323497015" sldId="2147484033"/>
              <pc:sldLayoutMk cId="1454208401" sldId="2147484035"/>
              <ac:spMk id="22" creationId="{F50D9795-89E4-442A-AB07-DB9973DB0C26}"/>
            </ac:spMkLst>
          </pc:spChg>
          <pc:picChg chg="mod">
            <ac:chgData name="Hans Gelissen (DHL SSC Maastricht)" userId="1afa8510-4eed-4b73-a29e-678838cd8acd" providerId="ADAL" clId="{3783B829-9615-4619-9D2B-E6A2AB654372}" dt="2023-03-14T10:28:12.277" v="215" actId="14100"/>
            <ac:picMkLst>
              <pc:docMk/>
              <pc:sldMasterMk cId="323497015" sldId="2147484033"/>
              <pc:sldLayoutMk cId="1454208401" sldId="2147484035"/>
              <ac:picMk id="13" creationId="{2B1BD734-7379-4346-88DF-5BB68C76BF87}"/>
            </ac:picMkLst>
          </pc:picChg>
        </pc:sldLayoutChg>
      </pc:sldMasterChg>
      <pc:sldMasterChg chg="addSp delSp modSp mod delSldLayout modSldLayout">
        <pc:chgData name="Hans Gelissen (DHL SSC Maastricht)" userId="1afa8510-4eed-4b73-a29e-678838cd8acd" providerId="ADAL" clId="{3783B829-9615-4619-9D2B-E6A2AB654372}" dt="2023-03-14T12:26:40.115" v="1017" actId="20577"/>
        <pc:sldMasterMkLst>
          <pc:docMk/>
          <pc:sldMasterMk cId="346234790" sldId="2147484036"/>
        </pc:sldMasterMkLst>
        <pc:spChg chg="add del mod">
          <ac:chgData name="Hans Gelissen (DHL SSC Maastricht)" userId="1afa8510-4eed-4b73-a29e-678838cd8acd" providerId="ADAL" clId="{3783B829-9615-4619-9D2B-E6A2AB654372}" dt="2023-03-14T10:42:08.955" v="262" actId="21"/>
          <ac:spMkLst>
            <pc:docMk/>
            <pc:sldMasterMk cId="346234790" sldId="2147484036"/>
            <ac:spMk id="2" creationId="{B164647A-BE75-4D40-8286-8C4ADFDCC6F9}"/>
          </ac:spMkLst>
        </pc:spChg>
        <pc:sldLayoutChg chg="addSp delSp modSp mod">
          <pc:chgData name="Hans Gelissen (DHL SSC Maastricht)" userId="1afa8510-4eed-4b73-a29e-678838cd8acd" providerId="ADAL" clId="{3783B829-9615-4619-9D2B-E6A2AB654372}" dt="2023-03-14T12:26:40.115" v="1017" actId="20577"/>
          <pc:sldLayoutMkLst>
            <pc:docMk/>
            <pc:sldMasterMk cId="346234790" sldId="2147484036"/>
            <pc:sldLayoutMk cId="3570524635" sldId="2147484037"/>
          </pc:sldLayoutMkLst>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7" creationId="{B010EA47-4C5C-49EB-A69D-D0A21BE4735C}"/>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8" creationId="{44129AD2-E0F3-4D9C-9F90-CC5CF8600EC5}"/>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9" creationId="{D51E019A-245B-4E0B-B864-90683F6AECF2}"/>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10" creationId="{299B8E53-FFBC-4D45-AAD8-87ED27CD9185}"/>
            </ac:spMkLst>
          </pc:spChg>
          <pc:spChg chg="mod">
            <ac:chgData name="Hans Gelissen (DHL SSC Maastricht)" userId="1afa8510-4eed-4b73-a29e-678838cd8acd" providerId="ADAL" clId="{3783B829-9615-4619-9D2B-E6A2AB654372}" dt="2023-03-14T10:55:27.230" v="715" actId="1076"/>
            <ac:spMkLst>
              <pc:docMk/>
              <pc:sldMasterMk cId="346234790" sldId="2147484036"/>
              <pc:sldLayoutMk cId="3570524635" sldId="2147484037"/>
              <ac:spMk id="11" creationId="{C478DBB3-8CBA-44B0-8448-554392206DAD}"/>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12" creationId="{7015ADE4-5BC5-4D7C-87CE-574134FFD385}"/>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14" creationId="{713E4885-1DD0-4F60-BD87-A2BF20B02563}"/>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15" creationId="{51172AE3-15A4-4C0B-96BF-46AB5C7BFD17}"/>
            </ac:spMkLst>
          </pc:spChg>
          <pc:spChg chg="del">
            <ac:chgData name="Hans Gelissen (DHL SSC Maastricht)" userId="1afa8510-4eed-4b73-a29e-678838cd8acd" providerId="ADAL" clId="{3783B829-9615-4619-9D2B-E6A2AB654372}" dt="2023-03-14T10:41:04.545" v="240" actId="478"/>
            <ac:spMkLst>
              <pc:docMk/>
              <pc:sldMasterMk cId="346234790" sldId="2147484036"/>
              <pc:sldLayoutMk cId="3570524635" sldId="2147484037"/>
              <ac:spMk id="16" creationId="{1A186C83-D957-408A-95BB-404DC8AFB447}"/>
            </ac:spMkLst>
          </pc:spChg>
          <pc:spChg chg="del mod">
            <ac:chgData name="Hans Gelissen (DHL SSC Maastricht)" userId="1afa8510-4eed-4b73-a29e-678838cd8acd" providerId="ADAL" clId="{3783B829-9615-4619-9D2B-E6A2AB654372}" dt="2023-03-14T12:26:28.307" v="977" actId="478"/>
            <ac:spMkLst>
              <pc:docMk/>
              <pc:sldMasterMk cId="346234790" sldId="2147484036"/>
              <pc:sldLayoutMk cId="3570524635" sldId="2147484037"/>
              <ac:spMk id="20" creationId="{00000000-0000-0000-0000-000000000000}"/>
            </ac:spMkLst>
          </pc:spChg>
          <pc:spChg chg="add del mod">
            <ac:chgData name="Hans Gelissen (DHL SSC Maastricht)" userId="1afa8510-4eed-4b73-a29e-678838cd8acd" providerId="ADAL" clId="{3783B829-9615-4619-9D2B-E6A2AB654372}" dt="2023-03-14T10:44:22.191" v="325" actId="478"/>
            <ac:spMkLst>
              <pc:docMk/>
              <pc:sldMasterMk cId="346234790" sldId="2147484036"/>
              <pc:sldLayoutMk cId="3570524635" sldId="2147484037"/>
              <ac:spMk id="31" creationId="{5EDF3B21-1626-4A17-BFD1-441BDC51FBB7}"/>
            </ac:spMkLst>
          </pc:spChg>
          <pc:spChg chg="add mod">
            <ac:chgData name="Hans Gelissen (DHL SSC Maastricht)" userId="1afa8510-4eed-4b73-a29e-678838cd8acd" providerId="ADAL" clId="{3783B829-9615-4619-9D2B-E6A2AB654372}" dt="2023-03-14T10:50:14.156" v="515" actId="164"/>
            <ac:spMkLst>
              <pc:docMk/>
              <pc:sldMasterMk cId="346234790" sldId="2147484036"/>
              <pc:sldLayoutMk cId="3570524635" sldId="2147484037"/>
              <ac:spMk id="32" creationId="{F42498E7-9A6A-4427-8E01-F3E38A5DD94C}"/>
            </ac:spMkLst>
          </pc:spChg>
          <pc:spChg chg="add mod ord">
            <ac:chgData name="Hans Gelissen (DHL SSC Maastricht)" userId="1afa8510-4eed-4b73-a29e-678838cd8acd" providerId="ADAL" clId="{3783B829-9615-4619-9D2B-E6A2AB654372}" dt="2023-03-14T10:51:34.614" v="587" actId="1038"/>
            <ac:spMkLst>
              <pc:docMk/>
              <pc:sldMasterMk cId="346234790" sldId="2147484036"/>
              <pc:sldLayoutMk cId="3570524635" sldId="2147484037"/>
              <ac:spMk id="45" creationId="{12D3229C-0AB6-4C9A-BC60-EC460FCEFE37}"/>
            </ac:spMkLst>
          </pc:spChg>
          <pc:spChg chg="add del mod">
            <ac:chgData name="Hans Gelissen (DHL SSC Maastricht)" userId="1afa8510-4eed-4b73-a29e-678838cd8acd" providerId="ADAL" clId="{3783B829-9615-4619-9D2B-E6A2AB654372}" dt="2023-03-14T10:45:39.970" v="365" actId="478"/>
            <ac:spMkLst>
              <pc:docMk/>
              <pc:sldMasterMk cId="346234790" sldId="2147484036"/>
              <pc:sldLayoutMk cId="3570524635" sldId="2147484037"/>
              <ac:spMk id="52" creationId="{CBCA06BA-D45B-4D84-8229-DD6F09CDC6A3}"/>
            </ac:spMkLst>
          </pc:spChg>
          <pc:spChg chg="add del mod">
            <ac:chgData name="Hans Gelissen (DHL SSC Maastricht)" userId="1afa8510-4eed-4b73-a29e-678838cd8acd" providerId="ADAL" clId="{3783B829-9615-4619-9D2B-E6A2AB654372}" dt="2023-03-14T10:45:39.970" v="365" actId="478"/>
            <ac:spMkLst>
              <pc:docMk/>
              <pc:sldMasterMk cId="346234790" sldId="2147484036"/>
              <pc:sldLayoutMk cId="3570524635" sldId="2147484037"/>
              <ac:spMk id="53" creationId="{82292F7B-A509-4C76-B19D-3D68638D715D}"/>
            </ac:spMkLst>
          </pc:spChg>
          <pc:spChg chg="add mod ord">
            <ac:chgData name="Hans Gelissen (DHL SSC Maastricht)" userId="1afa8510-4eed-4b73-a29e-678838cd8acd" providerId="ADAL" clId="{3783B829-9615-4619-9D2B-E6A2AB654372}" dt="2023-03-14T10:51:34.614" v="587" actId="1038"/>
            <ac:spMkLst>
              <pc:docMk/>
              <pc:sldMasterMk cId="346234790" sldId="2147484036"/>
              <pc:sldLayoutMk cId="3570524635" sldId="2147484037"/>
              <ac:spMk id="55" creationId="{26DA2E06-BF6F-44F2-889F-FB74EF488502}"/>
            </ac:spMkLst>
          </pc:spChg>
          <pc:spChg chg="add mod ord">
            <ac:chgData name="Hans Gelissen (DHL SSC Maastricht)" userId="1afa8510-4eed-4b73-a29e-678838cd8acd" providerId="ADAL" clId="{3783B829-9615-4619-9D2B-E6A2AB654372}" dt="2023-03-14T10:51:45.016" v="590" actId="1076"/>
            <ac:spMkLst>
              <pc:docMk/>
              <pc:sldMasterMk cId="346234790" sldId="2147484036"/>
              <pc:sldLayoutMk cId="3570524635" sldId="2147484037"/>
              <ac:spMk id="56" creationId="{22D6ED94-01B1-4EA3-A18D-BF7375C8FBE1}"/>
            </ac:spMkLst>
          </pc:spChg>
          <pc:spChg chg="add mod ord">
            <ac:chgData name="Hans Gelissen (DHL SSC Maastricht)" userId="1afa8510-4eed-4b73-a29e-678838cd8acd" providerId="ADAL" clId="{3783B829-9615-4619-9D2B-E6A2AB654372}" dt="2023-03-14T10:50:45.394" v="522" actId="1035"/>
            <ac:spMkLst>
              <pc:docMk/>
              <pc:sldMasterMk cId="346234790" sldId="2147484036"/>
              <pc:sldLayoutMk cId="3570524635" sldId="2147484037"/>
              <ac:spMk id="72" creationId="{C8FB9A94-1E1C-437D-9EAE-EF02563B0EFD}"/>
            </ac:spMkLst>
          </pc:spChg>
          <pc:spChg chg="mod">
            <ac:chgData name="Hans Gelissen (DHL SSC Maastricht)" userId="1afa8510-4eed-4b73-a29e-678838cd8acd" providerId="ADAL" clId="{3783B829-9615-4619-9D2B-E6A2AB654372}" dt="2023-03-14T10:50:49.794" v="523"/>
            <ac:spMkLst>
              <pc:docMk/>
              <pc:sldMasterMk cId="346234790" sldId="2147484036"/>
              <pc:sldLayoutMk cId="3570524635" sldId="2147484037"/>
              <ac:spMk id="75" creationId="{B77E976E-7E2D-437E-A7A8-F335D914D0D7}"/>
            </ac:spMkLst>
          </pc:spChg>
          <pc:spChg chg="mod">
            <ac:chgData name="Hans Gelissen (DHL SSC Maastricht)" userId="1afa8510-4eed-4b73-a29e-678838cd8acd" providerId="ADAL" clId="{3783B829-9615-4619-9D2B-E6A2AB654372}" dt="2023-03-14T10:51:13.679" v="578" actId="20577"/>
            <ac:spMkLst>
              <pc:docMk/>
              <pc:sldMasterMk cId="346234790" sldId="2147484036"/>
              <pc:sldLayoutMk cId="3570524635" sldId="2147484037"/>
              <ac:spMk id="91" creationId="{4FD88F49-5DDD-48A5-A784-DD5B0EDE8C56}"/>
            </ac:spMkLst>
          </pc:spChg>
          <pc:spChg chg="mod">
            <ac:chgData name="Hans Gelissen (DHL SSC Maastricht)" userId="1afa8510-4eed-4b73-a29e-678838cd8acd" providerId="ADAL" clId="{3783B829-9615-4619-9D2B-E6A2AB654372}" dt="2023-03-14T10:51:21.195" v="579"/>
            <ac:spMkLst>
              <pc:docMk/>
              <pc:sldMasterMk cId="346234790" sldId="2147484036"/>
              <pc:sldLayoutMk cId="3570524635" sldId="2147484037"/>
              <ac:spMk id="93" creationId="{AE62B214-39C7-4E08-B99C-79B7A172F05E}"/>
            </ac:spMkLst>
          </pc:spChg>
          <pc:spChg chg="mod">
            <ac:chgData name="Hans Gelissen (DHL SSC Maastricht)" userId="1afa8510-4eed-4b73-a29e-678838cd8acd" providerId="ADAL" clId="{3783B829-9615-4619-9D2B-E6A2AB654372}" dt="2023-03-14T10:52:19.145" v="685" actId="20577"/>
            <ac:spMkLst>
              <pc:docMk/>
              <pc:sldMasterMk cId="346234790" sldId="2147484036"/>
              <pc:sldLayoutMk cId="3570524635" sldId="2147484037"/>
              <ac:spMk id="109" creationId="{2AF0CA33-BBE3-4B91-9FAE-B904C1FA83B8}"/>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1" creationId="{9CBB221F-6297-48D9-A883-BCC6E06996E5}"/>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2" creationId="{0B1B3005-D22D-4E6A-8FAE-8B3C089D8F15}"/>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3" creationId="{673753D7-EF20-4AE0-9A49-632F7028FE46}"/>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4" creationId="{5C615259-F451-4473-A584-3CCFCB935B5E}"/>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5" creationId="{D2535FE0-98DB-4BDF-ABC8-6DFBEA5488A6}"/>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6" creationId="{CD08A068-21FB-43E0-B392-92C70169D551}"/>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7" creationId="{7004FC27-66B6-4C50-A7DD-AED6848D5020}"/>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8" creationId="{3F1D5CC3-C0EB-46E4-B417-800EDC8B8E14}"/>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19" creationId="{D2023F45-D368-45F8-A480-815665BE826D}"/>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20" creationId="{C1795A1C-49F1-405A-84D7-EB35095FF737}"/>
            </ac:spMkLst>
          </pc:spChg>
          <pc:spChg chg="mod">
            <ac:chgData name="Hans Gelissen (DHL SSC Maastricht)" userId="1afa8510-4eed-4b73-a29e-678838cd8acd" providerId="ADAL" clId="{3783B829-9615-4619-9D2B-E6A2AB654372}" dt="2023-03-14T10:55:09.928" v="709"/>
            <ac:spMkLst>
              <pc:docMk/>
              <pc:sldMasterMk cId="346234790" sldId="2147484036"/>
              <pc:sldLayoutMk cId="3570524635" sldId="2147484037"/>
              <ac:spMk id="121" creationId="{6039D46A-928A-4370-9A63-EA0CA268852B}"/>
            </ac:spMkLst>
          </pc:spChg>
          <pc:spChg chg="mod">
            <ac:chgData name="Hans Gelissen (DHL SSC Maastricht)" userId="1afa8510-4eed-4b73-a29e-678838cd8acd" providerId="ADAL" clId="{3783B829-9615-4619-9D2B-E6A2AB654372}" dt="2023-03-14T10:55:19.601" v="711"/>
            <ac:spMkLst>
              <pc:docMk/>
              <pc:sldMasterMk cId="346234790" sldId="2147484036"/>
              <pc:sldLayoutMk cId="3570524635" sldId="2147484037"/>
              <ac:spMk id="123" creationId="{DF79A7DF-6896-4E54-8E1E-3DA55AB53B22}"/>
            </ac:spMkLst>
          </pc:spChg>
          <pc:spChg chg="mod">
            <ac:chgData name="Hans Gelissen (DHL SSC Maastricht)" userId="1afa8510-4eed-4b73-a29e-678838cd8acd" providerId="ADAL" clId="{3783B829-9615-4619-9D2B-E6A2AB654372}" dt="2023-03-14T10:55:19.601" v="711"/>
            <ac:spMkLst>
              <pc:docMk/>
              <pc:sldMasterMk cId="346234790" sldId="2147484036"/>
              <pc:sldLayoutMk cId="3570524635" sldId="2147484037"/>
              <ac:spMk id="124" creationId="{B3F59764-2211-4809-8809-E37EA2A00CB4}"/>
            </ac:spMkLst>
          </pc:spChg>
          <pc:spChg chg="mod">
            <ac:chgData name="Hans Gelissen (DHL SSC Maastricht)" userId="1afa8510-4eed-4b73-a29e-678838cd8acd" providerId="ADAL" clId="{3783B829-9615-4619-9D2B-E6A2AB654372}" dt="2023-03-14T10:55:19.601" v="711"/>
            <ac:spMkLst>
              <pc:docMk/>
              <pc:sldMasterMk cId="346234790" sldId="2147484036"/>
              <pc:sldLayoutMk cId="3570524635" sldId="2147484037"/>
              <ac:spMk id="125" creationId="{843EB960-B149-48D2-B2C7-169E954E0593}"/>
            </ac:spMkLst>
          </pc:spChg>
          <pc:spChg chg="mod">
            <ac:chgData name="Hans Gelissen (DHL SSC Maastricht)" userId="1afa8510-4eed-4b73-a29e-678838cd8acd" providerId="ADAL" clId="{3783B829-9615-4619-9D2B-E6A2AB654372}" dt="2023-03-14T10:55:19.601" v="711"/>
            <ac:spMkLst>
              <pc:docMk/>
              <pc:sldMasterMk cId="346234790" sldId="2147484036"/>
              <pc:sldLayoutMk cId="3570524635" sldId="2147484037"/>
              <ac:spMk id="126" creationId="{7165BA37-08A4-4E09-BB0E-056E6B4D16A6}"/>
            </ac:spMkLst>
          </pc:spChg>
          <pc:spChg chg="mod">
            <ac:chgData name="Hans Gelissen (DHL SSC Maastricht)" userId="1afa8510-4eed-4b73-a29e-678838cd8acd" providerId="ADAL" clId="{3783B829-9615-4619-9D2B-E6A2AB654372}" dt="2023-03-14T10:55:19.601" v="711"/>
            <ac:spMkLst>
              <pc:docMk/>
              <pc:sldMasterMk cId="346234790" sldId="2147484036"/>
              <pc:sldLayoutMk cId="3570524635" sldId="2147484037"/>
              <ac:spMk id="127" creationId="{6DE8B1AB-769D-4F9B-82A7-6B291F83E8AC}"/>
            </ac:spMkLst>
          </pc:spChg>
          <pc:spChg chg="add mod">
            <ac:chgData name="Hans Gelissen (DHL SSC Maastricht)" userId="1afa8510-4eed-4b73-a29e-678838cd8acd" providerId="ADAL" clId="{3783B829-9615-4619-9D2B-E6A2AB654372}" dt="2023-03-14T12:26:40.115" v="1017" actId="20577"/>
            <ac:spMkLst>
              <pc:docMk/>
              <pc:sldMasterMk cId="346234790" sldId="2147484036"/>
              <pc:sldLayoutMk cId="3570524635" sldId="2147484037"/>
              <ac:spMk id="128" creationId="{18B1A514-FFCC-4910-B0FD-7A1144DA81CD}"/>
            </ac:spMkLst>
          </pc:spChg>
          <pc:grpChg chg="add mod">
            <ac:chgData name="Hans Gelissen (DHL SSC Maastricht)" userId="1afa8510-4eed-4b73-a29e-678838cd8acd" providerId="ADAL" clId="{3783B829-9615-4619-9D2B-E6A2AB654372}" dt="2023-03-14T10:51:34.614" v="587" actId="1038"/>
            <ac:grpSpMkLst>
              <pc:docMk/>
              <pc:sldMasterMk cId="346234790" sldId="2147484036"/>
              <pc:sldLayoutMk cId="3570524635" sldId="2147484037"/>
              <ac:grpSpMk id="73" creationId="{E4777B42-32A3-4712-8778-BC1FBB94A9A4}"/>
            </ac:grpSpMkLst>
          </pc:grpChg>
          <pc:grpChg chg="add mod">
            <ac:chgData name="Hans Gelissen (DHL SSC Maastricht)" userId="1afa8510-4eed-4b73-a29e-678838cd8acd" providerId="ADAL" clId="{3783B829-9615-4619-9D2B-E6A2AB654372}" dt="2023-03-14T10:51:34.614" v="587" actId="1038"/>
            <ac:grpSpMkLst>
              <pc:docMk/>
              <pc:sldMasterMk cId="346234790" sldId="2147484036"/>
              <pc:sldLayoutMk cId="3570524635" sldId="2147484037"/>
              <ac:grpSpMk id="74" creationId="{A1E1A978-B4C1-419A-9F1C-98542ED88BA1}"/>
            </ac:grpSpMkLst>
          </pc:grpChg>
          <pc:grpChg chg="add mod">
            <ac:chgData name="Hans Gelissen (DHL SSC Maastricht)" userId="1afa8510-4eed-4b73-a29e-678838cd8acd" providerId="ADAL" clId="{3783B829-9615-4619-9D2B-E6A2AB654372}" dt="2023-03-14T10:51:34.614" v="587" actId="1038"/>
            <ac:grpSpMkLst>
              <pc:docMk/>
              <pc:sldMasterMk cId="346234790" sldId="2147484036"/>
              <pc:sldLayoutMk cId="3570524635" sldId="2147484037"/>
              <ac:grpSpMk id="92" creationId="{8257BD7D-96C3-470C-8BBA-18F14DC4CDCE}"/>
            </ac:grpSpMkLst>
          </pc:grpChg>
          <pc:grpChg chg="add mod">
            <ac:chgData name="Hans Gelissen (DHL SSC Maastricht)" userId="1afa8510-4eed-4b73-a29e-678838cd8acd" providerId="ADAL" clId="{3783B829-9615-4619-9D2B-E6A2AB654372}" dt="2023-03-14T10:55:12.722" v="710" actId="1076"/>
            <ac:grpSpMkLst>
              <pc:docMk/>
              <pc:sldMasterMk cId="346234790" sldId="2147484036"/>
              <pc:sldLayoutMk cId="3570524635" sldId="2147484037"/>
              <ac:grpSpMk id="110" creationId="{CE3E6607-FC55-40FA-A765-40FE8C944B46}"/>
            </ac:grpSpMkLst>
          </pc:grpChg>
          <pc:grpChg chg="add mod">
            <ac:chgData name="Hans Gelissen (DHL SSC Maastricht)" userId="1afa8510-4eed-4b73-a29e-678838cd8acd" providerId="ADAL" clId="{3783B829-9615-4619-9D2B-E6A2AB654372}" dt="2023-03-14T10:55:49.027" v="716" actId="1076"/>
            <ac:grpSpMkLst>
              <pc:docMk/>
              <pc:sldMasterMk cId="346234790" sldId="2147484036"/>
              <pc:sldLayoutMk cId="3570524635" sldId="2147484037"/>
              <ac:grpSpMk id="122" creationId="{4D11FDE0-6B4F-4C9D-8456-0914AE2A162C}"/>
            </ac:grpSpMkLst>
          </pc:grp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3" creationId="{E7F00E61-CB13-4FDB-92C8-09428B2A2912}"/>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19" creationId="{9EF346B0-A95C-48B9-A290-06C06790D29C}"/>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1" creationId="{E21D5D22-03F2-4603-9A4B-31ADD75146BA}"/>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2" creationId="{C0932137-CE10-40E7-AF72-2AF6441D557E}"/>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3" creationId="{D5D976C0-9010-495E-8687-22D2D2339066}"/>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4" creationId="{92AA7FEA-704B-4CEB-AFF9-62776B1ED952}"/>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5" creationId="{4459D435-0084-44F4-A9FF-36D7E11B4EA7}"/>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6" creationId="{58FB8BAA-BC4E-494C-B2D3-623655122E9E}"/>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7" creationId="{DB726947-6207-4EF7-A480-EAC4AB48CB94}"/>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8" creationId="{3850983E-0922-4848-8BBD-B4F450D15804}"/>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29" creationId="{36A1BA1B-5D82-43C1-8101-C7F3DA63F151}"/>
            </ac:cxnSpMkLst>
          </pc:cxnChg>
          <pc:cxnChg chg="del">
            <ac:chgData name="Hans Gelissen (DHL SSC Maastricht)" userId="1afa8510-4eed-4b73-a29e-678838cd8acd" providerId="ADAL" clId="{3783B829-9615-4619-9D2B-E6A2AB654372}" dt="2023-03-14T10:41:04.545" v="240" actId="478"/>
            <ac:cxnSpMkLst>
              <pc:docMk/>
              <pc:sldMasterMk cId="346234790" sldId="2147484036"/>
              <pc:sldLayoutMk cId="3570524635" sldId="2147484037"/>
              <ac:cxnSpMk id="30" creationId="{950664C4-7DEA-48F9-A56C-77C8E17A5A35}"/>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3" creationId="{50037C88-F40E-459B-A7A5-0B495774C2A9}"/>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4" creationId="{7BDC5ADE-C483-43FE-89D2-69E9F1D3CB46}"/>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5" creationId="{CC15B844-50B3-4D81-99A7-DF57FAFEA3A5}"/>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6" creationId="{FE6A6976-9EDD-4A58-9E71-FB637AFDD706}"/>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7" creationId="{969A938A-0628-4311-9E49-A5CF798F2F4E}"/>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8" creationId="{5B8D46D8-4578-4AA5-8E03-DDB1DD31090B}"/>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39" creationId="{3710CA46-D3A7-4222-BA55-DD3AA1E16B13}"/>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40" creationId="{DDEF0F58-1B4A-4139-BBAD-3933E98D1A06}"/>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41" creationId="{95BDCFB7-DDBB-4E4B-981C-633C55AC27F3}"/>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42" creationId="{373BFAFB-7A67-4940-8D4D-1887A462BB57}"/>
            </ac:cxnSpMkLst>
          </pc:cxnChg>
          <pc:cxnChg chg="add del mod">
            <ac:chgData name="Hans Gelissen (DHL SSC Maastricht)" userId="1afa8510-4eed-4b73-a29e-678838cd8acd" providerId="ADAL" clId="{3783B829-9615-4619-9D2B-E6A2AB654372}" dt="2023-03-14T10:45:05.440" v="352" actId="478"/>
            <ac:cxnSpMkLst>
              <pc:docMk/>
              <pc:sldMasterMk cId="346234790" sldId="2147484036"/>
              <pc:sldLayoutMk cId="3570524635" sldId="2147484037"/>
              <ac:cxnSpMk id="43" creationId="{955D2252-6B49-44B0-B4E8-E8C7A6C7C855}"/>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44" creationId="{3FD2213E-8523-42D2-8A46-34DF2FE69AEE}"/>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58" creationId="{4EA5F2B6-D2DA-477F-A7BB-C5F24C00ED62}"/>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59" creationId="{6E06BB17-9F17-4D34-9AE9-A57C30122A74}"/>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0" creationId="{CD38048B-4C19-4DEB-AB7A-507707188C0A}"/>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1" creationId="{8E75C617-67A6-4165-BE30-B8277F4D8427}"/>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2" creationId="{A8B7A866-C123-425A-8015-130AB6D8003B}"/>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3" creationId="{3B223D01-9167-482A-AB67-82CA2B4EAA2D}"/>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4" creationId="{21123CBF-88DA-406B-8D3D-78251EE82CC3}"/>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5" creationId="{56879ED9-8608-4F51-B564-A6BCB01EE0A8}"/>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6" creationId="{100EBBB3-58C6-4497-95B8-94050387DEE3}"/>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7" creationId="{9FDA6CEE-66D2-4A78-8B72-EB96849FD216}"/>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8" creationId="{71B73F90-12F4-46FD-BA1E-CBA4A1AA02FE}"/>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69" creationId="{1D034444-C5D7-4C42-B856-DAA9DE48B9CC}"/>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70" creationId="{855C2D1C-12D0-48EA-AD95-8963A2AD9590}"/>
            </ac:cxnSpMkLst>
          </pc:cxnChg>
          <pc:cxnChg chg="add mod">
            <ac:chgData name="Hans Gelissen (DHL SSC Maastricht)" userId="1afa8510-4eed-4b73-a29e-678838cd8acd" providerId="ADAL" clId="{3783B829-9615-4619-9D2B-E6A2AB654372}" dt="2023-03-14T10:50:14.156" v="515" actId="164"/>
            <ac:cxnSpMkLst>
              <pc:docMk/>
              <pc:sldMasterMk cId="346234790" sldId="2147484036"/>
              <pc:sldLayoutMk cId="3570524635" sldId="2147484037"/>
              <ac:cxnSpMk id="71" creationId="{E1199480-8A3D-4134-8205-81D8882D465A}"/>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76" creationId="{C1069C92-64D5-4E19-95D4-61581EDF0B15}"/>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77" creationId="{C1E749D5-CEB3-4DE6-AB18-727DB76EBB2B}"/>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78" creationId="{189807CE-341D-40A4-80CC-E23E76568B3E}"/>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79" creationId="{3E075A6A-A3EB-4E48-BCA1-97D67D92B277}"/>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0" creationId="{C00C4848-7901-4792-82B5-62434A3421AA}"/>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1" creationId="{DD8121E0-3EC1-46F4-8833-233B454079BA}"/>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2" creationId="{7F16D176-B3CF-4C12-BE01-F7BEA3EAA513}"/>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3" creationId="{8D8D89E5-6ACE-4446-9D7B-F4ED0BDD88C4}"/>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4" creationId="{8F816A47-D34D-480F-ABD5-08B5B12719CA}"/>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5" creationId="{C650C147-CA50-4E93-81CD-E1340DD5CEA9}"/>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6" creationId="{E15B4673-3480-41B7-9E17-D4E973A58E28}"/>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7" creationId="{83E357EE-12D2-4878-A574-F4E063B6E774}"/>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8" creationId="{DDFE2E28-7C73-4FBE-9215-6E8D64C56C62}"/>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89" creationId="{ABABEAED-EB10-4094-89AC-29EA7248FAD4}"/>
            </ac:cxnSpMkLst>
          </pc:cxnChg>
          <pc:cxnChg chg="mod">
            <ac:chgData name="Hans Gelissen (DHL SSC Maastricht)" userId="1afa8510-4eed-4b73-a29e-678838cd8acd" providerId="ADAL" clId="{3783B829-9615-4619-9D2B-E6A2AB654372}" dt="2023-03-14T10:50:49.794" v="523"/>
            <ac:cxnSpMkLst>
              <pc:docMk/>
              <pc:sldMasterMk cId="346234790" sldId="2147484036"/>
              <pc:sldLayoutMk cId="3570524635" sldId="2147484037"/>
              <ac:cxnSpMk id="90" creationId="{89BD8221-452E-46B3-BDF3-3441019DBFF2}"/>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94" creationId="{19181C3A-4B1E-4F0C-9C89-FCEF56D5234F}"/>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95" creationId="{4394C08C-C088-41B0-967F-05736211CAA5}"/>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96" creationId="{64D1A2AA-2BA7-4C16-A821-2991DC92020B}"/>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97" creationId="{327E3DAA-5E4D-4F48-990E-4006CCF46321}"/>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98" creationId="{E40106E8-6FFB-48F2-901D-63AB56838A95}"/>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99" creationId="{07E58FEF-EB3C-4EE0-96CC-63663E26DCA2}"/>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0" creationId="{3D5D51AA-9A1D-4296-AD3E-02B435DD2D36}"/>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1" creationId="{228748E1-E4D7-42EB-9F92-FDD3B01516C7}"/>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2" creationId="{AF2D685A-7EA4-47F4-A90F-D8E013517E5B}"/>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3" creationId="{46D3BE50-E595-4D8F-B054-9B5651C6CF2E}"/>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4" creationId="{292DDDFE-432C-46EE-8E90-FC12B83D3DDA}"/>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5" creationId="{E49B70D6-F247-46B4-B4AB-04C1E9C31D45}"/>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6" creationId="{E50169AD-E2DF-4EC9-A40F-9A6095CBC78A}"/>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7" creationId="{6D672CA9-2146-484E-8C91-4C0E672B53FD}"/>
            </ac:cxnSpMkLst>
          </pc:cxnChg>
          <pc:cxnChg chg="mod">
            <ac:chgData name="Hans Gelissen (DHL SSC Maastricht)" userId="1afa8510-4eed-4b73-a29e-678838cd8acd" providerId="ADAL" clId="{3783B829-9615-4619-9D2B-E6A2AB654372}" dt="2023-03-14T10:51:21.195" v="579"/>
            <ac:cxnSpMkLst>
              <pc:docMk/>
              <pc:sldMasterMk cId="346234790" sldId="2147484036"/>
              <pc:sldLayoutMk cId="3570524635" sldId="2147484037"/>
              <ac:cxnSpMk id="108" creationId="{0C0DEBBC-1796-4814-9F26-ABB5BD2827CC}"/>
            </ac:cxnSpMkLst>
          </pc:cxnChg>
        </pc:sldLayoutChg>
        <pc:sldLayoutChg chg="delSp modSp del mod">
          <pc:chgData name="Hans Gelissen (DHL SSC Maastricht)" userId="1afa8510-4eed-4b73-a29e-678838cd8acd" providerId="ADAL" clId="{3783B829-9615-4619-9D2B-E6A2AB654372}" dt="2023-03-14T12:25:30.328" v="974" actId="2696"/>
          <pc:sldLayoutMkLst>
            <pc:docMk/>
            <pc:sldMasterMk cId="346234790" sldId="2147484036"/>
            <pc:sldLayoutMk cId="2158248816" sldId="2147484038"/>
          </pc:sldLayoutMkLst>
          <pc:spChg chg="mod">
            <ac:chgData name="Hans Gelissen (DHL SSC Maastricht)" userId="1afa8510-4eed-4b73-a29e-678838cd8acd" providerId="ADAL" clId="{3783B829-9615-4619-9D2B-E6A2AB654372}" dt="2023-03-14T10:54:37.239" v="705" actId="20577"/>
            <ac:spMkLst>
              <pc:docMk/>
              <pc:sldMasterMk cId="346234790" sldId="2147484036"/>
              <pc:sldLayoutMk cId="2158248816" sldId="2147484038"/>
              <ac:spMk id="20" creationId="{00000000-0000-0000-0000-000000000000}"/>
            </ac:spMkLst>
          </pc:spChg>
          <pc:spChg chg="del">
            <ac:chgData name="Hans Gelissen (DHL SSC Maastricht)" userId="1afa8510-4eed-4b73-a29e-678838cd8acd" providerId="ADAL" clId="{3783B829-9615-4619-9D2B-E6A2AB654372}" dt="2023-03-14T10:52:46.318" v="686" actId="478"/>
            <ac:spMkLst>
              <pc:docMk/>
              <pc:sldMasterMk cId="346234790" sldId="2147484036"/>
              <pc:sldLayoutMk cId="2158248816" sldId="2147484038"/>
              <ac:spMk id="31" creationId="{5EDF3B21-1626-4A17-BFD1-441BDC51FBB7}"/>
            </ac:spMkLst>
          </pc:spChg>
        </pc:sldLayoutChg>
      </pc:sldMasterChg>
    </pc:docChg>
  </pc:docChgLst>
  <pc:docChgLst>
    <pc:chgData name="Hans Gelissen (DHL SSC Maastricht)" userId="1afa8510-4eed-4b73-a29e-678838cd8acd" providerId="ADAL" clId="{C58DBB88-EC80-4135-8C14-80D2FEEFCB85}"/>
    <pc:docChg chg="custSel modMainMaster">
      <pc:chgData name="Hans Gelissen (DHL SSC Maastricht)" userId="1afa8510-4eed-4b73-a29e-678838cd8acd" providerId="ADAL" clId="{C58DBB88-EC80-4135-8C14-80D2FEEFCB85}" dt="2023-06-27T09:08:01.536" v="68"/>
      <pc:docMkLst>
        <pc:docMk/>
      </pc:docMkLst>
      <pc:sldMasterChg chg="modSldLayout">
        <pc:chgData name="Hans Gelissen (DHL SSC Maastricht)" userId="1afa8510-4eed-4b73-a29e-678838cd8acd" providerId="ADAL" clId="{C58DBB88-EC80-4135-8C14-80D2FEEFCB85}" dt="2023-06-27T09:07:24.176" v="36"/>
        <pc:sldMasterMkLst>
          <pc:docMk/>
          <pc:sldMasterMk cId="2253695231" sldId="2147483754"/>
        </pc:sldMasterMkLst>
        <pc:sldLayoutChg chg="addSp delSp modSp mod">
          <pc:chgData name="Hans Gelissen (DHL SSC Maastricht)" userId="1afa8510-4eed-4b73-a29e-678838cd8acd" providerId="ADAL" clId="{C58DBB88-EC80-4135-8C14-80D2FEEFCB85}" dt="2023-06-27T09:07:24.176" v="36"/>
          <pc:sldLayoutMkLst>
            <pc:docMk/>
            <pc:sldMasterMk cId="2253695231" sldId="2147483754"/>
            <pc:sldLayoutMk cId="403307911" sldId="2147483730"/>
          </pc:sldLayoutMkLst>
          <pc:spChg chg="mod">
            <ac:chgData name="Hans Gelissen (DHL SSC Maastricht)" userId="1afa8510-4eed-4b73-a29e-678838cd8acd" providerId="ADAL" clId="{C58DBB88-EC80-4135-8C14-80D2FEEFCB85}" dt="2023-06-27T09:07:24.176" v="36"/>
            <ac:spMkLst>
              <pc:docMk/>
              <pc:sldMasterMk cId="2253695231" sldId="2147483754"/>
              <pc:sldLayoutMk cId="403307911" sldId="2147483730"/>
              <ac:spMk id="3" creationId="{27E921E6-16A1-8B4B-80D8-4AC493FA2EAE}"/>
            </ac:spMkLst>
          </pc:spChg>
          <pc:grpChg chg="add mod">
            <ac:chgData name="Hans Gelissen (DHL SSC Maastricht)" userId="1afa8510-4eed-4b73-a29e-678838cd8acd" providerId="ADAL" clId="{C58DBB88-EC80-4135-8C14-80D2FEEFCB85}" dt="2023-06-27T09:07:24.176" v="36"/>
            <ac:grpSpMkLst>
              <pc:docMk/>
              <pc:sldMasterMk cId="2253695231" sldId="2147483754"/>
              <pc:sldLayoutMk cId="403307911" sldId="2147483730"/>
              <ac:grpSpMk id="2" creationId="{DCF9D376-61C4-9E31-EE52-3EE851DA7EDC}"/>
            </ac:grpSpMkLst>
          </pc:grpChg>
          <pc:grpChg chg="del">
            <ac:chgData name="Hans Gelissen (DHL SSC Maastricht)" userId="1afa8510-4eed-4b73-a29e-678838cd8acd" providerId="ADAL" clId="{C58DBB88-EC80-4135-8C14-80D2FEEFCB85}" dt="2023-06-27T09:06:29.432" v="0" actId="478"/>
            <ac:grpSpMkLst>
              <pc:docMk/>
              <pc:sldMasterMk cId="2253695231" sldId="2147483754"/>
              <pc:sldLayoutMk cId="403307911" sldId="2147483730"/>
              <ac:grpSpMk id="19" creationId="{415A3D1A-37E6-49DF-9012-F8D327340F26}"/>
            </ac:grpSpMkLst>
          </pc:grpChg>
          <pc:picChg chg="mod">
            <ac:chgData name="Hans Gelissen (DHL SSC Maastricht)" userId="1afa8510-4eed-4b73-a29e-678838cd8acd" providerId="ADAL" clId="{C58DBB88-EC80-4135-8C14-80D2FEEFCB85}" dt="2023-06-27T09:07:24.176" v="36"/>
            <ac:picMkLst>
              <pc:docMk/>
              <pc:sldMasterMk cId="2253695231" sldId="2147483754"/>
              <pc:sldLayoutMk cId="403307911" sldId="2147483730"/>
              <ac:picMk id="4" creationId="{07BACFFC-2DF1-564F-4585-5807B759F5FD}"/>
            </ac:picMkLst>
          </pc:picChg>
          <pc:picChg chg="mod">
            <ac:chgData name="Hans Gelissen (DHL SSC Maastricht)" userId="1afa8510-4eed-4b73-a29e-678838cd8acd" providerId="ADAL" clId="{C58DBB88-EC80-4135-8C14-80D2FEEFCB85}" dt="2023-06-27T09:07:24.176" v="36"/>
            <ac:picMkLst>
              <pc:docMk/>
              <pc:sldMasterMk cId="2253695231" sldId="2147483754"/>
              <pc:sldLayoutMk cId="403307911" sldId="2147483730"/>
              <ac:picMk id="5" creationId="{3F30818D-A923-18D1-8DD3-59832A85E104}"/>
            </ac:picMkLst>
          </pc:picChg>
          <pc:picChg chg="mod">
            <ac:chgData name="Hans Gelissen (DHL SSC Maastricht)" userId="1afa8510-4eed-4b73-a29e-678838cd8acd" providerId="ADAL" clId="{C58DBB88-EC80-4135-8C14-80D2FEEFCB85}" dt="2023-06-27T09:07:24.176" v="36"/>
            <ac:picMkLst>
              <pc:docMk/>
              <pc:sldMasterMk cId="2253695231" sldId="2147483754"/>
              <pc:sldLayoutMk cId="403307911" sldId="2147483730"/>
              <ac:picMk id="6" creationId="{024D5327-2601-81DB-22EE-AC3A2F56C328}"/>
            </ac:picMkLst>
          </pc:picChg>
        </pc:sldLayoutChg>
        <pc:sldLayoutChg chg="addSp delSp modSp mod">
          <pc:chgData name="Hans Gelissen (DHL SSC Maastricht)" userId="1afa8510-4eed-4b73-a29e-678838cd8acd" providerId="ADAL" clId="{C58DBB88-EC80-4135-8C14-80D2FEEFCB85}" dt="2023-06-27T09:07:23.614" v="35"/>
          <pc:sldLayoutMkLst>
            <pc:docMk/>
            <pc:sldMasterMk cId="2253695231" sldId="2147483754"/>
            <pc:sldLayoutMk cId="3371890454" sldId="2147483744"/>
          </pc:sldLayoutMkLst>
          <pc:spChg chg="mod">
            <ac:chgData name="Hans Gelissen (DHL SSC Maastricht)" userId="1afa8510-4eed-4b73-a29e-678838cd8acd" providerId="ADAL" clId="{C58DBB88-EC80-4135-8C14-80D2FEEFCB85}" dt="2023-06-27T09:07:23.614" v="35"/>
            <ac:spMkLst>
              <pc:docMk/>
              <pc:sldMasterMk cId="2253695231" sldId="2147483754"/>
              <pc:sldLayoutMk cId="3371890454" sldId="2147483744"/>
              <ac:spMk id="6" creationId="{F2935CE9-AA3E-11B8-798D-C5DCEB1DFC1D}"/>
            </ac:spMkLst>
          </pc:spChg>
          <pc:grpChg chg="add mod">
            <ac:chgData name="Hans Gelissen (DHL SSC Maastricht)" userId="1afa8510-4eed-4b73-a29e-678838cd8acd" providerId="ADAL" clId="{C58DBB88-EC80-4135-8C14-80D2FEEFCB85}" dt="2023-06-27T09:07:23.614" v="35"/>
            <ac:grpSpMkLst>
              <pc:docMk/>
              <pc:sldMasterMk cId="2253695231" sldId="2147483754"/>
              <pc:sldLayoutMk cId="3371890454" sldId="2147483744"/>
              <ac:grpSpMk id="2" creationId="{53038165-0438-73A8-F1A0-0E342602C067}"/>
            </ac:grpSpMkLst>
          </pc:grpChg>
          <pc:grpChg chg="del">
            <ac:chgData name="Hans Gelissen (DHL SSC Maastricht)" userId="1afa8510-4eed-4b73-a29e-678838cd8acd" providerId="ADAL" clId="{C58DBB88-EC80-4135-8C14-80D2FEEFCB85}" dt="2023-06-27T09:06:31.672" v="1" actId="478"/>
            <ac:grpSpMkLst>
              <pc:docMk/>
              <pc:sldMasterMk cId="2253695231" sldId="2147483754"/>
              <pc:sldLayoutMk cId="3371890454" sldId="2147483744"/>
              <ac:grpSpMk id="65" creationId="{1BDED68A-58CE-477A-8081-6078BF2E6B86}"/>
            </ac:grpSpMkLst>
          </pc:grpChg>
          <pc:picChg chg="mod">
            <ac:chgData name="Hans Gelissen (DHL SSC Maastricht)" userId="1afa8510-4eed-4b73-a29e-678838cd8acd" providerId="ADAL" clId="{C58DBB88-EC80-4135-8C14-80D2FEEFCB85}" dt="2023-06-27T09:07:23.614" v="35"/>
            <ac:picMkLst>
              <pc:docMk/>
              <pc:sldMasterMk cId="2253695231" sldId="2147483754"/>
              <pc:sldLayoutMk cId="3371890454" sldId="2147483744"/>
              <ac:picMk id="7" creationId="{EAFDF85C-F564-A249-787B-46CD452AFFF6}"/>
            </ac:picMkLst>
          </pc:picChg>
          <pc:picChg chg="mod">
            <ac:chgData name="Hans Gelissen (DHL SSC Maastricht)" userId="1afa8510-4eed-4b73-a29e-678838cd8acd" providerId="ADAL" clId="{C58DBB88-EC80-4135-8C14-80D2FEEFCB85}" dt="2023-06-27T09:07:23.614" v="35"/>
            <ac:picMkLst>
              <pc:docMk/>
              <pc:sldMasterMk cId="2253695231" sldId="2147483754"/>
              <pc:sldLayoutMk cId="3371890454" sldId="2147483744"/>
              <ac:picMk id="8" creationId="{B12B0D51-AE3D-61C4-8607-59DED64EBC20}"/>
            </ac:picMkLst>
          </pc:picChg>
          <pc:picChg chg="mod">
            <ac:chgData name="Hans Gelissen (DHL SSC Maastricht)" userId="1afa8510-4eed-4b73-a29e-678838cd8acd" providerId="ADAL" clId="{C58DBB88-EC80-4135-8C14-80D2FEEFCB85}" dt="2023-06-27T09:07:23.614" v="35"/>
            <ac:picMkLst>
              <pc:docMk/>
              <pc:sldMasterMk cId="2253695231" sldId="2147483754"/>
              <pc:sldLayoutMk cId="3371890454" sldId="2147483744"/>
              <ac:picMk id="9" creationId="{9CBB847D-44CD-CF03-7FED-BCBE86034D05}"/>
            </ac:picMkLst>
          </pc:picChg>
        </pc:sldLayoutChg>
        <pc:sldLayoutChg chg="addSp delSp modSp mod">
          <pc:chgData name="Hans Gelissen (DHL SSC Maastricht)" userId="1afa8510-4eed-4b73-a29e-678838cd8acd" providerId="ADAL" clId="{C58DBB88-EC80-4135-8C14-80D2FEEFCB85}" dt="2023-06-27T09:07:21.948" v="34"/>
          <pc:sldLayoutMkLst>
            <pc:docMk/>
            <pc:sldMasterMk cId="2253695231" sldId="2147483754"/>
            <pc:sldLayoutMk cId="2430525271" sldId="2147483825"/>
          </pc:sldLayoutMkLst>
          <pc:spChg chg="mod">
            <ac:chgData name="Hans Gelissen (DHL SSC Maastricht)" userId="1afa8510-4eed-4b73-a29e-678838cd8acd" providerId="ADAL" clId="{C58DBB88-EC80-4135-8C14-80D2FEEFCB85}" dt="2023-06-27T09:07:21.948" v="34"/>
            <ac:spMkLst>
              <pc:docMk/>
              <pc:sldMasterMk cId="2253695231" sldId="2147483754"/>
              <pc:sldLayoutMk cId="2430525271" sldId="2147483825"/>
              <ac:spMk id="6" creationId="{76B38E03-B62B-A8F5-D6E2-461D4548D484}"/>
            </ac:spMkLst>
          </pc:spChg>
          <pc:grpChg chg="add mod">
            <ac:chgData name="Hans Gelissen (DHL SSC Maastricht)" userId="1afa8510-4eed-4b73-a29e-678838cd8acd" providerId="ADAL" clId="{C58DBB88-EC80-4135-8C14-80D2FEEFCB85}" dt="2023-06-27T09:07:21.948" v="34"/>
            <ac:grpSpMkLst>
              <pc:docMk/>
              <pc:sldMasterMk cId="2253695231" sldId="2147483754"/>
              <pc:sldLayoutMk cId="2430525271" sldId="2147483825"/>
              <ac:grpSpMk id="2" creationId="{F90FE3D1-621F-BBFA-34D2-096BB707DE6C}"/>
            </ac:grpSpMkLst>
          </pc:grpChg>
          <pc:grpChg chg="del">
            <ac:chgData name="Hans Gelissen (DHL SSC Maastricht)" userId="1afa8510-4eed-4b73-a29e-678838cd8acd" providerId="ADAL" clId="{C58DBB88-EC80-4135-8C14-80D2FEEFCB85}" dt="2023-06-27T09:06:32.657" v="2" actId="478"/>
            <ac:grpSpMkLst>
              <pc:docMk/>
              <pc:sldMasterMk cId="2253695231" sldId="2147483754"/>
              <pc:sldLayoutMk cId="2430525271" sldId="2147483825"/>
              <ac:grpSpMk id="65" creationId="{1BDED68A-58CE-477A-8081-6078BF2E6B86}"/>
            </ac:grpSpMkLst>
          </pc:grpChg>
          <pc:picChg chg="mod">
            <ac:chgData name="Hans Gelissen (DHL SSC Maastricht)" userId="1afa8510-4eed-4b73-a29e-678838cd8acd" providerId="ADAL" clId="{C58DBB88-EC80-4135-8C14-80D2FEEFCB85}" dt="2023-06-27T09:07:21.948" v="34"/>
            <ac:picMkLst>
              <pc:docMk/>
              <pc:sldMasterMk cId="2253695231" sldId="2147483754"/>
              <pc:sldLayoutMk cId="2430525271" sldId="2147483825"/>
              <ac:picMk id="7" creationId="{40CC0AA4-F374-7C25-AC23-8E8A8D48AD2F}"/>
            </ac:picMkLst>
          </pc:picChg>
          <pc:picChg chg="mod">
            <ac:chgData name="Hans Gelissen (DHL SSC Maastricht)" userId="1afa8510-4eed-4b73-a29e-678838cd8acd" providerId="ADAL" clId="{C58DBB88-EC80-4135-8C14-80D2FEEFCB85}" dt="2023-06-27T09:07:21.948" v="34"/>
            <ac:picMkLst>
              <pc:docMk/>
              <pc:sldMasterMk cId="2253695231" sldId="2147483754"/>
              <pc:sldLayoutMk cId="2430525271" sldId="2147483825"/>
              <ac:picMk id="8" creationId="{1BE0C1BC-6FC6-7D63-215B-9427C95DDA56}"/>
            </ac:picMkLst>
          </pc:picChg>
          <pc:picChg chg="mod">
            <ac:chgData name="Hans Gelissen (DHL SSC Maastricht)" userId="1afa8510-4eed-4b73-a29e-678838cd8acd" providerId="ADAL" clId="{C58DBB88-EC80-4135-8C14-80D2FEEFCB85}" dt="2023-06-27T09:07:21.948" v="34"/>
            <ac:picMkLst>
              <pc:docMk/>
              <pc:sldMasterMk cId="2253695231" sldId="2147483754"/>
              <pc:sldLayoutMk cId="2430525271" sldId="2147483825"/>
              <ac:picMk id="9" creationId="{D42C050A-D94D-1EB8-EE3F-32867D840EE7}"/>
            </ac:picMkLst>
          </pc:picChg>
        </pc:sldLayoutChg>
        <pc:sldLayoutChg chg="addSp delSp modSp mod">
          <pc:chgData name="Hans Gelissen (DHL SSC Maastricht)" userId="1afa8510-4eed-4b73-a29e-678838cd8acd" providerId="ADAL" clId="{C58DBB88-EC80-4135-8C14-80D2FEEFCB85}" dt="2023-06-27T09:07:21.263" v="33"/>
          <pc:sldLayoutMkLst>
            <pc:docMk/>
            <pc:sldMasterMk cId="2253695231" sldId="2147483754"/>
            <pc:sldLayoutMk cId="1903724941" sldId="2147483826"/>
          </pc:sldLayoutMkLst>
          <pc:spChg chg="mod">
            <ac:chgData name="Hans Gelissen (DHL SSC Maastricht)" userId="1afa8510-4eed-4b73-a29e-678838cd8acd" providerId="ADAL" clId="{C58DBB88-EC80-4135-8C14-80D2FEEFCB85}" dt="2023-06-27T09:07:21.263" v="33"/>
            <ac:spMkLst>
              <pc:docMk/>
              <pc:sldMasterMk cId="2253695231" sldId="2147483754"/>
              <pc:sldLayoutMk cId="1903724941" sldId="2147483826"/>
              <ac:spMk id="6" creationId="{9ABD256D-7027-5018-265D-38D448C3EF49}"/>
            </ac:spMkLst>
          </pc:spChg>
          <pc:grpChg chg="add mod">
            <ac:chgData name="Hans Gelissen (DHL SSC Maastricht)" userId="1afa8510-4eed-4b73-a29e-678838cd8acd" providerId="ADAL" clId="{C58DBB88-EC80-4135-8C14-80D2FEEFCB85}" dt="2023-06-27T09:07:21.263" v="33"/>
            <ac:grpSpMkLst>
              <pc:docMk/>
              <pc:sldMasterMk cId="2253695231" sldId="2147483754"/>
              <pc:sldLayoutMk cId="1903724941" sldId="2147483826"/>
              <ac:grpSpMk id="2" creationId="{8B13B4B9-A851-147A-54E6-3C33EBA18A7D}"/>
            </ac:grpSpMkLst>
          </pc:grpChg>
          <pc:grpChg chg="del">
            <ac:chgData name="Hans Gelissen (DHL SSC Maastricht)" userId="1afa8510-4eed-4b73-a29e-678838cd8acd" providerId="ADAL" clId="{C58DBB88-EC80-4135-8C14-80D2FEEFCB85}" dt="2023-06-27T09:06:33.613" v="3" actId="478"/>
            <ac:grpSpMkLst>
              <pc:docMk/>
              <pc:sldMasterMk cId="2253695231" sldId="2147483754"/>
              <pc:sldLayoutMk cId="1903724941" sldId="2147483826"/>
              <ac:grpSpMk id="65" creationId="{1BDED68A-58CE-477A-8081-6078BF2E6B86}"/>
            </ac:grpSpMkLst>
          </pc:grpChg>
          <pc:picChg chg="mod">
            <ac:chgData name="Hans Gelissen (DHL SSC Maastricht)" userId="1afa8510-4eed-4b73-a29e-678838cd8acd" providerId="ADAL" clId="{C58DBB88-EC80-4135-8C14-80D2FEEFCB85}" dt="2023-06-27T09:07:21.263" v="33"/>
            <ac:picMkLst>
              <pc:docMk/>
              <pc:sldMasterMk cId="2253695231" sldId="2147483754"/>
              <pc:sldLayoutMk cId="1903724941" sldId="2147483826"/>
              <ac:picMk id="7" creationId="{4368E6FB-09C2-6528-6DB7-784A7B9961E5}"/>
            </ac:picMkLst>
          </pc:picChg>
          <pc:picChg chg="mod">
            <ac:chgData name="Hans Gelissen (DHL SSC Maastricht)" userId="1afa8510-4eed-4b73-a29e-678838cd8acd" providerId="ADAL" clId="{C58DBB88-EC80-4135-8C14-80D2FEEFCB85}" dt="2023-06-27T09:07:21.263" v="33"/>
            <ac:picMkLst>
              <pc:docMk/>
              <pc:sldMasterMk cId="2253695231" sldId="2147483754"/>
              <pc:sldLayoutMk cId="1903724941" sldId="2147483826"/>
              <ac:picMk id="8" creationId="{FD6023BF-5F5F-685F-862C-AF978B14E96D}"/>
            </ac:picMkLst>
          </pc:picChg>
          <pc:picChg chg="mod">
            <ac:chgData name="Hans Gelissen (DHL SSC Maastricht)" userId="1afa8510-4eed-4b73-a29e-678838cd8acd" providerId="ADAL" clId="{C58DBB88-EC80-4135-8C14-80D2FEEFCB85}" dt="2023-06-27T09:07:21.263" v="33"/>
            <ac:picMkLst>
              <pc:docMk/>
              <pc:sldMasterMk cId="2253695231" sldId="2147483754"/>
              <pc:sldLayoutMk cId="1903724941" sldId="2147483826"/>
              <ac:picMk id="9" creationId="{B2404E52-9CE7-CCAF-504E-B57507119335}"/>
            </ac:picMkLst>
          </pc:picChg>
        </pc:sldLayoutChg>
        <pc:sldLayoutChg chg="addSp delSp modSp mod">
          <pc:chgData name="Hans Gelissen (DHL SSC Maastricht)" userId="1afa8510-4eed-4b73-a29e-678838cd8acd" providerId="ADAL" clId="{C58DBB88-EC80-4135-8C14-80D2FEEFCB85}" dt="2023-06-27T09:07:19.331" v="30"/>
          <pc:sldLayoutMkLst>
            <pc:docMk/>
            <pc:sldMasterMk cId="2253695231" sldId="2147483754"/>
            <pc:sldLayoutMk cId="1305642289" sldId="2147483873"/>
          </pc:sldLayoutMkLst>
          <pc:spChg chg="mod">
            <ac:chgData name="Hans Gelissen (DHL SSC Maastricht)" userId="1afa8510-4eed-4b73-a29e-678838cd8acd" providerId="ADAL" clId="{C58DBB88-EC80-4135-8C14-80D2FEEFCB85}" dt="2023-06-27T09:07:19.331" v="30"/>
            <ac:spMkLst>
              <pc:docMk/>
              <pc:sldMasterMk cId="2253695231" sldId="2147483754"/>
              <pc:sldLayoutMk cId="1305642289" sldId="2147483873"/>
              <ac:spMk id="6" creationId="{3D13D042-9CCE-35D7-BE04-BBE6FD6DF49D}"/>
            </ac:spMkLst>
          </pc:spChg>
          <pc:grpChg chg="add mod">
            <ac:chgData name="Hans Gelissen (DHL SSC Maastricht)" userId="1afa8510-4eed-4b73-a29e-678838cd8acd" providerId="ADAL" clId="{C58DBB88-EC80-4135-8C14-80D2FEEFCB85}" dt="2023-06-27T09:07:19.331" v="30"/>
            <ac:grpSpMkLst>
              <pc:docMk/>
              <pc:sldMasterMk cId="2253695231" sldId="2147483754"/>
              <pc:sldLayoutMk cId="1305642289" sldId="2147483873"/>
              <ac:grpSpMk id="2" creationId="{F4DB523D-A453-944C-347C-1456161B5935}"/>
            </ac:grpSpMkLst>
          </pc:grpChg>
          <pc:grpChg chg="del">
            <ac:chgData name="Hans Gelissen (DHL SSC Maastricht)" userId="1afa8510-4eed-4b73-a29e-678838cd8acd" providerId="ADAL" clId="{C58DBB88-EC80-4135-8C14-80D2FEEFCB85}" dt="2023-06-27T09:06:36.756" v="6" actId="478"/>
            <ac:grpSpMkLst>
              <pc:docMk/>
              <pc:sldMasterMk cId="2253695231" sldId="2147483754"/>
              <pc:sldLayoutMk cId="1305642289" sldId="2147483873"/>
              <ac:grpSpMk id="65" creationId="{1BDED68A-58CE-477A-8081-6078BF2E6B86}"/>
            </ac:grpSpMkLst>
          </pc:grpChg>
          <pc:picChg chg="mod">
            <ac:chgData name="Hans Gelissen (DHL SSC Maastricht)" userId="1afa8510-4eed-4b73-a29e-678838cd8acd" providerId="ADAL" clId="{C58DBB88-EC80-4135-8C14-80D2FEEFCB85}" dt="2023-06-27T09:07:19.331" v="30"/>
            <ac:picMkLst>
              <pc:docMk/>
              <pc:sldMasterMk cId="2253695231" sldId="2147483754"/>
              <pc:sldLayoutMk cId="1305642289" sldId="2147483873"/>
              <ac:picMk id="7" creationId="{D890A428-257A-D9A8-A3A4-36D1C6F1B0FB}"/>
            </ac:picMkLst>
          </pc:picChg>
          <pc:picChg chg="mod">
            <ac:chgData name="Hans Gelissen (DHL SSC Maastricht)" userId="1afa8510-4eed-4b73-a29e-678838cd8acd" providerId="ADAL" clId="{C58DBB88-EC80-4135-8C14-80D2FEEFCB85}" dt="2023-06-27T09:07:19.331" v="30"/>
            <ac:picMkLst>
              <pc:docMk/>
              <pc:sldMasterMk cId="2253695231" sldId="2147483754"/>
              <pc:sldLayoutMk cId="1305642289" sldId="2147483873"/>
              <ac:picMk id="8" creationId="{722C8C2C-6094-9A67-51D7-46D49B75F6C2}"/>
            </ac:picMkLst>
          </pc:picChg>
          <pc:picChg chg="mod">
            <ac:chgData name="Hans Gelissen (DHL SSC Maastricht)" userId="1afa8510-4eed-4b73-a29e-678838cd8acd" providerId="ADAL" clId="{C58DBB88-EC80-4135-8C14-80D2FEEFCB85}" dt="2023-06-27T09:07:19.331" v="30"/>
            <ac:picMkLst>
              <pc:docMk/>
              <pc:sldMasterMk cId="2253695231" sldId="2147483754"/>
              <pc:sldLayoutMk cId="1305642289" sldId="2147483873"/>
              <ac:picMk id="9" creationId="{EF987AF1-8FF4-B419-0698-6EE513590686}"/>
            </ac:picMkLst>
          </pc:picChg>
        </pc:sldLayoutChg>
        <pc:sldLayoutChg chg="addSp delSp modSp mod">
          <pc:chgData name="Hans Gelissen (DHL SSC Maastricht)" userId="1afa8510-4eed-4b73-a29e-678838cd8acd" providerId="ADAL" clId="{C58DBB88-EC80-4135-8C14-80D2FEEFCB85}" dt="2023-06-27T09:07:20.398" v="32"/>
          <pc:sldLayoutMkLst>
            <pc:docMk/>
            <pc:sldMasterMk cId="2253695231" sldId="2147483754"/>
            <pc:sldLayoutMk cId="3769672236" sldId="2147483874"/>
          </pc:sldLayoutMkLst>
          <pc:spChg chg="mod">
            <ac:chgData name="Hans Gelissen (DHL SSC Maastricht)" userId="1afa8510-4eed-4b73-a29e-678838cd8acd" providerId="ADAL" clId="{C58DBB88-EC80-4135-8C14-80D2FEEFCB85}" dt="2023-06-27T09:07:20.398" v="32"/>
            <ac:spMkLst>
              <pc:docMk/>
              <pc:sldMasterMk cId="2253695231" sldId="2147483754"/>
              <pc:sldLayoutMk cId="3769672236" sldId="2147483874"/>
              <ac:spMk id="6" creationId="{3D90B2C4-EAF8-0367-6CF2-FA148DF43237}"/>
            </ac:spMkLst>
          </pc:spChg>
          <pc:grpChg chg="add mod">
            <ac:chgData name="Hans Gelissen (DHL SSC Maastricht)" userId="1afa8510-4eed-4b73-a29e-678838cd8acd" providerId="ADAL" clId="{C58DBB88-EC80-4135-8C14-80D2FEEFCB85}" dt="2023-06-27T09:07:20.398" v="32"/>
            <ac:grpSpMkLst>
              <pc:docMk/>
              <pc:sldMasterMk cId="2253695231" sldId="2147483754"/>
              <pc:sldLayoutMk cId="3769672236" sldId="2147483874"/>
              <ac:grpSpMk id="2" creationId="{32997E77-9203-FAD2-F483-7023D250615E}"/>
            </ac:grpSpMkLst>
          </pc:grpChg>
          <pc:grpChg chg="del">
            <ac:chgData name="Hans Gelissen (DHL SSC Maastricht)" userId="1afa8510-4eed-4b73-a29e-678838cd8acd" providerId="ADAL" clId="{C58DBB88-EC80-4135-8C14-80D2FEEFCB85}" dt="2023-06-27T09:06:34.637" v="4" actId="478"/>
            <ac:grpSpMkLst>
              <pc:docMk/>
              <pc:sldMasterMk cId="2253695231" sldId="2147483754"/>
              <pc:sldLayoutMk cId="3769672236" sldId="2147483874"/>
              <ac:grpSpMk id="65" creationId="{1BDED68A-58CE-477A-8081-6078BF2E6B86}"/>
            </ac:grpSpMkLst>
          </pc:grpChg>
          <pc:picChg chg="mod">
            <ac:chgData name="Hans Gelissen (DHL SSC Maastricht)" userId="1afa8510-4eed-4b73-a29e-678838cd8acd" providerId="ADAL" clId="{C58DBB88-EC80-4135-8C14-80D2FEEFCB85}" dt="2023-06-27T09:07:20.398" v="32"/>
            <ac:picMkLst>
              <pc:docMk/>
              <pc:sldMasterMk cId="2253695231" sldId="2147483754"/>
              <pc:sldLayoutMk cId="3769672236" sldId="2147483874"/>
              <ac:picMk id="7" creationId="{C87DD276-5504-3175-1BF5-05CCA42B806C}"/>
            </ac:picMkLst>
          </pc:picChg>
          <pc:picChg chg="mod">
            <ac:chgData name="Hans Gelissen (DHL SSC Maastricht)" userId="1afa8510-4eed-4b73-a29e-678838cd8acd" providerId="ADAL" clId="{C58DBB88-EC80-4135-8C14-80D2FEEFCB85}" dt="2023-06-27T09:07:20.398" v="32"/>
            <ac:picMkLst>
              <pc:docMk/>
              <pc:sldMasterMk cId="2253695231" sldId="2147483754"/>
              <pc:sldLayoutMk cId="3769672236" sldId="2147483874"/>
              <ac:picMk id="8" creationId="{28012D23-B2D1-427F-8215-4918FA2CE759}"/>
            </ac:picMkLst>
          </pc:picChg>
          <pc:picChg chg="mod">
            <ac:chgData name="Hans Gelissen (DHL SSC Maastricht)" userId="1afa8510-4eed-4b73-a29e-678838cd8acd" providerId="ADAL" clId="{C58DBB88-EC80-4135-8C14-80D2FEEFCB85}" dt="2023-06-27T09:07:20.398" v="32"/>
            <ac:picMkLst>
              <pc:docMk/>
              <pc:sldMasterMk cId="2253695231" sldId="2147483754"/>
              <pc:sldLayoutMk cId="3769672236" sldId="2147483874"/>
              <ac:picMk id="9" creationId="{B0F5F541-C3A1-DE22-CAF3-CBBAA1BB4020}"/>
            </ac:picMkLst>
          </pc:picChg>
        </pc:sldLayoutChg>
        <pc:sldLayoutChg chg="addSp delSp modSp mod">
          <pc:chgData name="Hans Gelissen (DHL SSC Maastricht)" userId="1afa8510-4eed-4b73-a29e-678838cd8acd" providerId="ADAL" clId="{C58DBB88-EC80-4135-8C14-80D2FEEFCB85}" dt="2023-06-27T09:07:18.866" v="29"/>
          <pc:sldLayoutMkLst>
            <pc:docMk/>
            <pc:sldMasterMk cId="2253695231" sldId="2147483754"/>
            <pc:sldLayoutMk cId="3655209364" sldId="2147483875"/>
          </pc:sldLayoutMkLst>
          <pc:spChg chg="mod">
            <ac:chgData name="Hans Gelissen (DHL SSC Maastricht)" userId="1afa8510-4eed-4b73-a29e-678838cd8acd" providerId="ADAL" clId="{C58DBB88-EC80-4135-8C14-80D2FEEFCB85}" dt="2023-06-27T09:07:18.866" v="29"/>
            <ac:spMkLst>
              <pc:docMk/>
              <pc:sldMasterMk cId="2253695231" sldId="2147483754"/>
              <pc:sldLayoutMk cId="3655209364" sldId="2147483875"/>
              <ac:spMk id="6" creationId="{7E051ECC-7ECE-8A73-875C-BC8A63E794A4}"/>
            </ac:spMkLst>
          </pc:spChg>
          <pc:grpChg chg="add mod">
            <ac:chgData name="Hans Gelissen (DHL SSC Maastricht)" userId="1afa8510-4eed-4b73-a29e-678838cd8acd" providerId="ADAL" clId="{C58DBB88-EC80-4135-8C14-80D2FEEFCB85}" dt="2023-06-27T09:07:18.866" v="29"/>
            <ac:grpSpMkLst>
              <pc:docMk/>
              <pc:sldMasterMk cId="2253695231" sldId="2147483754"/>
              <pc:sldLayoutMk cId="3655209364" sldId="2147483875"/>
              <ac:grpSpMk id="2" creationId="{6D091A8C-3942-4DDE-7739-66C59BE039CF}"/>
            </ac:grpSpMkLst>
          </pc:grpChg>
          <pc:grpChg chg="del">
            <ac:chgData name="Hans Gelissen (DHL SSC Maastricht)" userId="1afa8510-4eed-4b73-a29e-678838cd8acd" providerId="ADAL" clId="{C58DBB88-EC80-4135-8C14-80D2FEEFCB85}" dt="2023-06-27T09:06:37.778" v="7" actId="478"/>
            <ac:grpSpMkLst>
              <pc:docMk/>
              <pc:sldMasterMk cId="2253695231" sldId="2147483754"/>
              <pc:sldLayoutMk cId="3655209364" sldId="2147483875"/>
              <ac:grpSpMk id="65" creationId="{1BDED68A-58CE-477A-8081-6078BF2E6B86}"/>
            </ac:grpSpMkLst>
          </pc:grpChg>
          <pc:picChg chg="mod">
            <ac:chgData name="Hans Gelissen (DHL SSC Maastricht)" userId="1afa8510-4eed-4b73-a29e-678838cd8acd" providerId="ADAL" clId="{C58DBB88-EC80-4135-8C14-80D2FEEFCB85}" dt="2023-06-27T09:07:18.866" v="29"/>
            <ac:picMkLst>
              <pc:docMk/>
              <pc:sldMasterMk cId="2253695231" sldId="2147483754"/>
              <pc:sldLayoutMk cId="3655209364" sldId="2147483875"/>
              <ac:picMk id="7" creationId="{E351FB4C-0818-3154-A291-ECF3CE321F02}"/>
            </ac:picMkLst>
          </pc:picChg>
          <pc:picChg chg="mod">
            <ac:chgData name="Hans Gelissen (DHL SSC Maastricht)" userId="1afa8510-4eed-4b73-a29e-678838cd8acd" providerId="ADAL" clId="{C58DBB88-EC80-4135-8C14-80D2FEEFCB85}" dt="2023-06-27T09:07:18.866" v="29"/>
            <ac:picMkLst>
              <pc:docMk/>
              <pc:sldMasterMk cId="2253695231" sldId="2147483754"/>
              <pc:sldLayoutMk cId="3655209364" sldId="2147483875"/>
              <ac:picMk id="8" creationId="{282EB344-2E1D-804A-08EB-6C586B0C6D88}"/>
            </ac:picMkLst>
          </pc:picChg>
          <pc:picChg chg="mod">
            <ac:chgData name="Hans Gelissen (DHL SSC Maastricht)" userId="1afa8510-4eed-4b73-a29e-678838cd8acd" providerId="ADAL" clId="{C58DBB88-EC80-4135-8C14-80D2FEEFCB85}" dt="2023-06-27T09:07:18.866" v="29"/>
            <ac:picMkLst>
              <pc:docMk/>
              <pc:sldMasterMk cId="2253695231" sldId="2147483754"/>
              <pc:sldLayoutMk cId="3655209364" sldId="2147483875"/>
              <ac:picMk id="9" creationId="{827913B8-5365-0A27-38C9-2B7176F3F697}"/>
            </ac:picMkLst>
          </pc:picChg>
        </pc:sldLayoutChg>
        <pc:sldLayoutChg chg="addSp delSp modSp mod">
          <pc:chgData name="Hans Gelissen (DHL SSC Maastricht)" userId="1afa8510-4eed-4b73-a29e-678838cd8acd" providerId="ADAL" clId="{C58DBB88-EC80-4135-8C14-80D2FEEFCB85}" dt="2023-06-27T09:07:19.875" v="31"/>
          <pc:sldLayoutMkLst>
            <pc:docMk/>
            <pc:sldMasterMk cId="2253695231" sldId="2147483754"/>
            <pc:sldLayoutMk cId="2728743336" sldId="2147483876"/>
          </pc:sldLayoutMkLst>
          <pc:spChg chg="mod">
            <ac:chgData name="Hans Gelissen (DHL SSC Maastricht)" userId="1afa8510-4eed-4b73-a29e-678838cd8acd" providerId="ADAL" clId="{C58DBB88-EC80-4135-8C14-80D2FEEFCB85}" dt="2023-06-27T09:07:19.875" v="31"/>
            <ac:spMkLst>
              <pc:docMk/>
              <pc:sldMasterMk cId="2253695231" sldId="2147483754"/>
              <pc:sldLayoutMk cId="2728743336" sldId="2147483876"/>
              <ac:spMk id="6" creationId="{1B5B5DB5-9F4D-735F-A09D-446950658D77}"/>
            </ac:spMkLst>
          </pc:spChg>
          <pc:grpChg chg="add mod">
            <ac:chgData name="Hans Gelissen (DHL SSC Maastricht)" userId="1afa8510-4eed-4b73-a29e-678838cd8acd" providerId="ADAL" clId="{C58DBB88-EC80-4135-8C14-80D2FEEFCB85}" dt="2023-06-27T09:07:19.875" v="31"/>
            <ac:grpSpMkLst>
              <pc:docMk/>
              <pc:sldMasterMk cId="2253695231" sldId="2147483754"/>
              <pc:sldLayoutMk cId="2728743336" sldId="2147483876"/>
              <ac:grpSpMk id="2" creationId="{7E78C776-2ADD-2740-E783-9BBD7A49F6E7}"/>
            </ac:grpSpMkLst>
          </pc:grpChg>
          <pc:grpChg chg="del">
            <ac:chgData name="Hans Gelissen (DHL SSC Maastricht)" userId="1afa8510-4eed-4b73-a29e-678838cd8acd" providerId="ADAL" clId="{C58DBB88-EC80-4135-8C14-80D2FEEFCB85}" dt="2023-06-27T09:06:35.698" v="5" actId="478"/>
            <ac:grpSpMkLst>
              <pc:docMk/>
              <pc:sldMasterMk cId="2253695231" sldId="2147483754"/>
              <pc:sldLayoutMk cId="2728743336" sldId="2147483876"/>
              <ac:grpSpMk id="65" creationId="{1BDED68A-58CE-477A-8081-6078BF2E6B86}"/>
            </ac:grpSpMkLst>
          </pc:grpChg>
          <pc:picChg chg="mod">
            <ac:chgData name="Hans Gelissen (DHL SSC Maastricht)" userId="1afa8510-4eed-4b73-a29e-678838cd8acd" providerId="ADAL" clId="{C58DBB88-EC80-4135-8C14-80D2FEEFCB85}" dt="2023-06-27T09:07:19.875" v="31"/>
            <ac:picMkLst>
              <pc:docMk/>
              <pc:sldMasterMk cId="2253695231" sldId="2147483754"/>
              <pc:sldLayoutMk cId="2728743336" sldId="2147483876"/>
              <ac:picMk id="7" creationId="{3D659A72-8664-613C-6C8C-28657FE6927E}"/>
            </ac:picMkLst>
          </pc:picChg>
          <pc:picChg chg="mod">
            <ac:chgData name="Hans Gelissen (DHL SSC Maastricht)" userId="1afa8510-4eed-4b73-a29e-678838cd8acd" providerId="ADAL" clId="{C58DBB88-EC80-4135-8C14-80D2FEEFCB85}" dt="2023-06-27T09:07:19.875" v="31"/>
            <ac:picMkLst>
              <pc:docMk/>
              <pc:sldMasterMk cId="2253695231" sldId="2147483754"/>
              <pc:sldLayoutMk cId="2728743336" sldId="2147483876"/>
              <ac:picMk id="8" creationId="{E3059F71-EFA5-D7D0-11E4-C31D2F17C10A}"/>
            </ac:picMkLst>
          </pc:picChg>
          <pc:picChg chg="mod">
            <ac:chgData name="Hans Gelissen (DHL SSC Maastricht)" userId="1afa8510-4eed-4b73-a29e-678838cd8acd" providerId="ADAL" clId="{C58DBB88-EC80-4135-8C14-80D2FEEFCB85}" dt="2023-06-27T09:07:19.875" v="31"/>
            <ac:picMkLst>
              <pc:docMk/>
              <pc:sldMasterMk cId="2253695231" sldId="2147483754"/>
              <pc:sldLayoutMk cId="2728743336" sldId="2147483876"/>
              <ac:picMk id="9" creationId="{FFA4CA40-7F23-C464-FABD-1D9006ED8EAE}"/>
            </ac:picMkLst>
          </pc:picChg>
        </pc:sldLayoutChg>
        <pc:sldLayoutChg chg="addSp delSp modSp mod">
          <pc:chgData name="Hans Gelissen (DHL SSC Maastricht)" userId="1afa8510-4eed-4b73-a29e-678838cd8acd" providerId="ADAL" clId="{C58DBB88-EC80-4135-8C14-80D2FEEFCB85}" dt="2023-06-27T09:07:16.912" v="28"/>
          <pc:sldLayoutMkLst>
            <pc:docMk/>
            <pc:sldMasterMk cId="2253695231" sldId="2147483754"/>
            <pc:sldLayoutMk cId="2511530909" sldId="2147483924"/>
          </pc:sldLayoutMkLst>
          <pc:spChg chg="mod">
            <ac:chgData name="Hans Gelissen (DHL SSC Maastricht)" userId="1afa8510-4eed-4b73-a29e-678838cd8acd" providerId="ADAL" clId="{C58DBB88-EC80-4135-8C14-80D2FEEFCB85}" dt="2023-06-27T09:07:16.912" v="28"/>
            <ac:spMkLst>
              <pc:docMk/>
              <pc:sldMasterMk cId="2253695231" sldId="2147483754"/>
              <pc:sldLayoutMk cId="2511530909" sldId="2147483924"/>
              <ac:spMk id="6" creationId="{FB00030D-85E9-67FE-2024-F06DF461244D}"/>
            </ac:spMkLst>
          </pc:spChg>
          <pc:grpChg chg="add mod">
            <ac:chgData name="Hans Gelissen (DHL SSC Maastricht)" userId="1afa8510-4eed-4b73-a29e-678838cd8acd" providerId="ADAL" clId="{C58DBB88-EC80-4135-8C14-80D2FEEFCB85}" dt="2023-06-27T09:07:16.912" v="28"/>
            <ac:grpSpMkLst>
              <pc:docMk/>
              <pc:sldMasterMk cId="2253695231" sldId="2147483754"/>
              <pc:sldLayoutMk cId="2511530909" sldId="2147483924"/>
              <ac:grpSpMk id="2" creationId="{468B8BED-2257-C9C1-6EAB-FF0715CDEB66}"/>
            </ac:grpSpMkLst>
          </pc:grpChg>
          <pc:grpChg chg="del">
            <ac:chgData name="Hans Gelissen (DHL SSC Maastricht)" userId="1afa8510-4eed-4b73-a29e-678838cd8acd" providerId="ADAL" clId="{C58DBB88-EC80-4135-8C14-80D2FEEFCB85}" dt="2023-06-27T09:06:38.940" v="8" actId="478"/>
            <ac:grpSpMkLst>
              <pc:docMk/>
              <pc:sldMasterMk cId="2253695231" sldId="2147483754"/>
              <pc:sldLayoutMk cId="2511530909" sldId="2147483924"/>
              <ac:grpSpMk id="65" creationId="{1BDED68A-58CE-477A-8081-6078BF2E6B86}"/>
            </ac:grpSpMkLst>
          </pc:grpChg>
          <pc:picChg chg="mod">
            <ac:chgData name="Hans Gelissen (DHL SSC Maastricht)" userId="1afa8510-4eed-4b73-a29e-678838cd8acd" providerId="ADAL" clId="{C58DBB88-EC80-4135-8C14-80D2FEEFCB85}" dt="2023-06-27T09:07:16.912" v="28"/>
            <ac:picMkLst>
              <pc:docMk/>
              <pc:sldMasterMk cId="2253695231" sldId="2147483754"/>
              <pc:sldLayoutMk cId="2511530909" sldId="2147483924"/>
              <ac:picMk id="7" creationId="{869DD2AB-F95A-1FA8-FA56-11279D3D60E9}"/>
            </ac:picMkLst>
          </pc:picChg>
          <pc:picChg chg="mod">
            <ac:chgData name="Hans Gelissen (DHL SSC Maastricht)" userId="1afa8510-4eed-4b73-a29e-678838cd8acd" providerId="ADAL" clId="{C58DBB88-EC80-4135-8C14-80D2FEEFCB85}" dt="2023-06-27T09:07:16.912" v="28"/>
            <ac:picMkLst>
              <pc:docMk/>
              <pc:sldMasterMk cId="2253695231" sldId="2147483754"/>
              <pc:sldLayoutMk cId="2511530909" sldId="2147483924"/>
              <ac:picMk id="8" creationId="{525E5BC8-5333-36ED-DC17-8964E2405AB0}"/>
            </ac:picMkLst>
          </pc:picChg>
          <pc:picChg chg="mod">
            <ac:chgData name="Hans Gelissen (DHL SSC Maastricht)" userId="1afa8510-4eed-4b73-a29e-678838cd8acd" providerId="ADAL" clId="{C58DBB88-EC80-4135-8C14-80D2FEEFCB85}" dt="2023-06-27T09:07:16.912" v="28"/>
            <ac:picMkLst>
              <pc:docMk/>
              <pc:sldMasterMk cId="2253695231" sldId="2147483754"/>
              <pc:sldLayoutMk cId="2511530909" sldId="2147483924"/>
              <ac:picMk id="9" creationId="{4E5360BB-3314-C8C1-3617-04F46381C0F8}"/>
            </ac:picMkLst>
          </pc:picChg>
        </pc:sldLayoutChg>
        <pc:sldLayoutChg chg="addSp delSp modSp mod">
          <pc:chgData name="Hans Gelissen (DHL SSC Maastricht)" userId="1afa8510-4eed-4b73-a29e-678838cd8acd" providerId="ADAL" clId="{C58DBB88-EC80-4135-8C14-80D2FEEFCB85}" dt="2023-06-27T09:07:16.288" v="27"/>
          <pc:sldLayoutMkLst>
            <pc:docMk/>
            <pc:sldMasterMk cId="2253695231" sldId="2147483754"/>
            <pc:sldLayoutMk cId="1611940501" sldId="2147483925"/>
          </pc:sldLayoutMkLst>
          <pc:spChg chg="mod">
            <ac:chgData name="Hans Gelissen (DHL SSC Maastricht)" userId="1afa8510-4eed-4b73-a29e-678838cd8acd" providerId="ADAL" clId="{C58DBB88-EC80-4135-8C14-80D2FEEFCB85}" dt="2023-06-27T09:07:16.288" v="27"/>
            <ac:spMkLst>
              <pc:docMk/>
              <pc:sldMasterMk cId="2253695231" sldId="2147483754"/>
              <pc:sldLayoutMk cId="1611940501" sldId="2147483925"/>
              <ac:spMk id="6" creationId="{3CD36F34-552E-CBE6-5E1D-986D68AE3ECA}"/>
            </ac:spMkLst>
          </pc:spChg>
          <pc:grpChg chg="add mod">
            <ac:chgData name="Hans Gelissen (DHL SSC Maastricht)" userId="1afa8510-4eed-4b73-a29e-678838cd8acd" providerId="ADAL" clId="{C58DBB88-EC80-4135-8C14-80D2FEEFCB85}" dt="2023-06-27T09:07:16.288" v="27"/>
            <ac:grpSpMkLst>
              <pc:docMk/>
              <pc:sldMasterMk cId="2253695231" sldId="2147483754"/>
              <pc:sldLayoutMk cId="1611940501" sldId="2147483925"/>
              <ac:grpSpMk id="2" creationId="{25EDAA18-DB59-A724-D93C-D8F83A414F21}"/>
            </ac:grpSpMkLst>
          </pc:grpChg>
          <pc:grpChg chg="del">
            <ac:chgData name="Hans Gelissen (DHL SSC Maastricht)" userId="1afa8510-4eed-4b73-a29e-678838cd8acd" providerId="ADAL" clId="{C58DBB88-EC80-4135-8C14-80D2FEEFCB85}" dt="2023-06-27T09:06:41.088" v="9" actId="478"/>
            <ac:grpSpMkLst>
              <pc:docMk/>
              <pc:sldMasterMk cId="2253695231" sldId="2147483754"/>
              <pc:sldLayoutMk cId="1611940501" sldId="2147483925"/>
              <ac:grpSpMk id="65" creationId="{1BDED68A-58CE-477A-8081-6078BF2E6B86}"/>
            </ac:grpSpMkLst>
          </pc:grpChg>
          <pc:picChg chg="mod">
            <ac:chgData name="Hans Gelissen (DHL SSC Maastricht)" userId="1afa8510-4eed-4b73-a29e-678838cd8acd" providerId="ADAL" clId="{C58DBB88-EC80-4135-8C14-80D2FEEFCB85}" dt="2023-06-27T09:07:16.288" v="27"/>
            <ac:picMkLst>
              <pc:docMk/>
              <pc:sldMasterMk cId="2253695231" sldId="2147483754"/>
              <pc:sldLayoutMk cId="1611940501" sldId="2147483925"/>
              <ac:picMk id="7" creationId="{03ED88A0-743F-A764-F7B7-1FCAFD93647B}"/>
            </ac:picMkLst>
          </pc:picChg>
          <pc:picChg chg="mod">
            <ac:chgData name="Hans Gelissen (DHL SSC Maastricht)" userId="1afa8510-4eed-4b73-a29e-678838cd8acd" providerId="ADAL" clId="{C58DBB88-EC80-4135-8C14-80D2FEEFCB85}" dt="2023-06-27T09:07:16.288" v="27"/>
            <ac:picMkLst>
              <pc:docMk/>
              <pc:sldMasterMk cId="2253695231" sldId="2147483754"/>
              <pc:sldLayoutMk cId="1611940501" sldId="2147483925"/>
              <ac:picMk id="8" creationId="{647A78D3-C105-4935-0308-5D2656FA7CF6}"/>
            </ac:picMkLst>
          </pc:picChg>
          <pc:picChg chg="mod">
            <ac:chgData name="Hans Gelissen (DHL SSC Maastricht)" userId="1afa8510-4eed-4b73-a29e-678838cd8acd" providerId="ADAL" clId="{C58DBB88-EC80-4135-8C14-80D2FEEFCB85}" dt="2023-06-27T09:07:16.288" v="27"/>
            <ac:picMkLst>
              <pc:docMk/>
              <pc:sldMasterMk cId="2253695231" sldId="2147483754"/>
              <pc:sldLayoutMk cId="1611940501" sldId="2147483925"/>
              <ac:picMk id="9" creationId="{C96D8F20-7299-A43E-2789-D316A558CAC2}"/>
            </ac:picMkLst>
          </pc:picChg>
        </pc:sldLayoutChg>
        <pc:sldLayoutChg chg="addSp delSp modSp mod">
          <pc:chgData name="Hans Gelissen (DHL SSC Maastricht)" userId="1afa8510-4eed-4b73-a29e-678838cd8acd" providerId="ADAL" clId="{C58DBB88-EC80-4135-8C14-80D2FEEFCB85}" dt="2023-06-27T09:07:15.693" v="26"/>
          <pc:sldLayoutMkLst>
            <pc:docMk/>
            <pc:sldMasterMk cId="2253695231" sldId="2147483754"/>
            <pc:sldLayoutMk cId="1824327113" sldId="2147483926"/>
          </pc:sldLayoutMkLst>
          <pc:spChg chg="mod">
            <ac:chgData name="Hans Gelissen (DHL SSC Maastricht)" userId="1afa8510-4eed-4b73-a29e-678838cd8acd" providerId="ADAL" clId="{C58DBB88-EC80-4135-8C14-80D2FEEFCB85}" dt="2023-06-27T09:07:15.693" v="26"/>
            <ac:spMkLst>
              <pc:docMk/>
              <pc:sldMasterMk cId="2253695231" sldId="2147483754"/>
              <pc:sldLayoutMk cId="1824327113" sldId="2147483926"/>
              <ac:spMk id="6" creationId="{AFC20903-0F33-99BA-B6D9-55F97A4CBFF4}"/>
            </ac:spMkLst>
          </pc:spChg>
          <pc:grpChg chg="add mod">
            <ac:chgData name="Hans Gelissen (DHL SSC Maastricht)" userId="1afa8510-4eed-4b73-a29e-678838cd8acd" providerId="ADAL" clId="{C58DBB88-EC80-4135-8C14-80D2FEEFCB85}" dt="2023-06-27T09:07:15.693" v="26"/>
            <ac:grpSpMkLst>
              <pc:docMk/>
              <pc:sldMasterMk cId="2253695231" sldId="2147483754"/>
              <pc:sldLayoutMk cId="1824327113" sldId="2147483926"/>
              <ac:grpSpMk id="2" creationId="{9E027146-DD36-4B10-E010-E174C50CB3FE}"/>
            </ac:grpSpMkLst>
          </pc:grpChg>
          <pc:grpChg chg="del">
            <ac:chgData name="Hans Gelissen (DHL SSC Maastricht)" userId="1afa8510-4eed-4b73-a29e-678838cd8acd" providerId="ADAL" clId="{C58DBB88-EC80-4135-8C14-80D2FEEFCB85}" dt="2023-06-27T09:06:42.286" v="10" actId="478"/>
            <ac:grpSpMkLst>
              <pc:docMk/>
              <pc:sldMasterMk cId="2253695231" sldId="2147483754"/>
              <pc:sldLayoutMk cId="1824327113" sldId="2147483926"/>
              <ac:grpSpMk id="65" creationId="{1BDED68A-58CE-477A-8081-6078BF2E6B86}"/>
            </ac:grpSpMkLst>
          </pc:grpChg>
          <pc:picChg chg="mod">
            <ac:chgData name="Hans Gelissen (DHL SSC Maastricht)" userId="1afa8510-4eed-4b73-a29e-678838cd8acd" providerId="ADAL" clId="{C58DBB88-EC80-4135-8C14-80D2FEEFCB85}" dt="2023-06-27T09:07:15.693" v="26"/>
            <ac:picMkLst>
              <pc:docMk/>
              <pc:sldMasterMk cId="2253695231" sldId="2147483754"/>
              <pc:sldLayoutMk cId="1824327113" sldId="2147483926"/>
              <ac:picMk id="7" creationId="{6CF34091-AF4E-0DFA-E8D0-B7CDC87B7A29}"/>
            </ac:picMkLst>
          </pc:picChg>
          <pc:picChg chg="mod">
            <ac:chgData name="Hans Gelissen (DHL SSC Maastricht)" userId="1afa8510-4eed-4b73-a29e-678838cd8acd" providerId="ADAL" clId="{C58DBB88-EC80-4135-8C14-80D2FEEFCB85}" dt="2023-06-27T09:07:15.693" v="26"/>
            <ac:picMkLst>
              <pc:docMk/>
              <pc:sldMasterMk cId="2253695231" sldId="2147483754"/>
              <pc:sldLayoutMk cId="1824327113" sldId="2147483926"/>
              <ac:picMk id="8" creationId="{0ECD6E78-8C81-2CAD-8596-6DBCF61CFE1C}"/>
            </ac:picMkLst>
          </pc:picChg>
          <pc:picChg chg="mod">
            <ac:chgData name="Hans Gelissen (DHL SSC Maastricht)" userId="1afa8510-4eed-4b73-a29e-678838cd8acd" providerId="ADAL" clId="{C58DBB88-EC80-4135-8C14-80D2FEEFCB85}" dt="2023-06-27T09:07:15.693" v="26"/>
            <ac:picMkLst>
              <pc:docMk/>
              <pc:sldMasterMk cId="2253695231" sldId="2147483754"/>
              <pc:sldLayoutMk cId="1824327113" sldId="2147483926"/>
              <ac:picMk id="9" creationId="{ABEC81F6-9B6F-CFBE-11C8-D961C0B6E61D}"/>
            </ac:picMkLst>
          </pc:picChg>
        </pc:sldLayoutChg>
        <pc:sldLayoutChg chg="addSp delSp modSp mod">
          <pc:chgData name="Hans Gelissen (DHL SSC Maastricht)" userId="1afa8510-4eed-4b73-a29e-678838cd8acd" providerId="ADAL" clId="{C58DBB88-EC80-4135-8C14-80D2FEEFCB85}" dt="2023-06-27T09:07:12.781" v="25"/>
          <pc:sldLayoutMkLst>
            <pc:docMk/>
            <pc:sldMasterMk cId="2253695231" sldId="2147483754"/>
            <pc:sldLayoutMk cId="3938857042" sldId="2147483927"/>
          </pc:sldLayoutMkLst>
          <pc:spChg chg="mod">
            <ac:chgData name="Hans Gelissen (DHL SSC Maastricht)" userId="1afa8510-4eed-4b73-a29e-678838cd8acd" providerId="ADAL" clId="{C58DBB88-EC80-4135-8C14-80D2FEEFCB85}" dt="2023-06-27T09:07:12.781" v="25"/>
            <ac:spMkLst>
              <pc:docMk/>
              <pc:sldMasterMk cId="2253695231" sldId="2147483754"/>
              <pc:sldLayoutMk cId="3938857042" sldId="2147483927"/>
              <ac:spMk id="6" creationId="{5F1B8B58-E52A-6875-0B79-C2E44AE8DFDA}"/>
            </ac:spMkLst>
          </pc:spChg>
          <pc:grpChg chg="add mod">
            <ac:chgData name="Hans Gelissen (DHL SSC Maastricht)" userId="1afa8510-4eed-4b73-a29e-678838cd8acd" providerId="ADAL" clId="{C58DBB88-EC80-4135-8C14-80D2FEEFCB85}" dt="2023-06-27T09:07:12.781" v="25"/>
            <ac:grpSpMkLst>
              <pc:docMk/>
              <pc:sldMasterMk cId="2253695231" sldId="2147483754"/>
              <pc:sldLayoutMk cId="3938857042" sldId="2147483927"/>
              <ac:grpSpMk id="2" creationId="{1D03042D-74C9-0C53-68D0-2FCC7BB4EA7A}"/>
            </ac:grpSpMkLst>
          </pc:grpChg>
          <pc:grpChg chg="del">
            <ac:chgData name="Hans Gelissen (DHL SSC Maastricht)" userId="1afa8510-4eed-4b73-a29e-678838cd8acd" providerId="ADAL" clId="{C58DBB88-EC80-4135-8C14-80D2FEEFCB85}" dt="2023-06-27T09:06:43.416" v="11" actId="478"/>
            <ac:grpSpMkLst>
              <pc:docMk/>
              <pc:sldMasterMk cId="2253695231" sldId="2147483754"/>
              <pc:sldLayoutMk cId="3938857042" sldId="2147483927"/>
              <ac:grpSpMk id="65" creationId="{1BDED68A-58CE-477A-8081-6078BF2E6B86}"/>
            </ac:grpSpMkLst>
          </pc:grpChg>
          <pc:picChg chg="mod">
            <ac:chgData name="Hans Gelissen (DHL SSC Maastricht)" userId="1afa8510-4eed-4b73-a29e-678838cd8acd" providerId="ADAL" clId="{C58DBB88-EC80-4135-8C14-80D2FEEFCB85}" dt="2023-06-27T09:07:12.781" v="25"/>
            <ac:picMkLst>
              <pc:docMk/>
              <pc:sldMasterMk cId="2253695231" sldId="2147483754"/>
              <pc:sldLayoutMk cId="3938857042" sldId="2147483927"/>
              <ac:picMk id="7" creationId="{49230B70-AAF6-278A-1F4E-9B78EB86BEEC}"/>
            </ac:picMkLst>
          </pc:picChg>
          <pc:picChg chg="mod">
            <ac:chgData name="Hans Gelissen (DHL SSC Maastricht)" userId="1afa8510-4eed-4b73-a29e-678838cd8acd" providerId="ADAL" clId="{C58DBB88-EC80-4135-8C14-80D2FEEFCB85}" dt="2023-06-27T09:07:12.781" v="25"/>
            <ac:picMkLst>
              <pc:docMk/>
              <pc:sldMasterMk cId="2253695231" sldId="2147483754"/>
              <pc:sldLayoutMk cId="3938857042" sldId="2147483927"/>
              <ac:picMk id="8" creationId="{18AE1592-2DBF-420C-60F8-32D8DE336042}"/>
            </ac:picMkLst>
          </pc:picChg>
          <pc:picChg chg="mod">
            <ac:chgData name="Hans Gelissen (DHL SSC Maastricht)" userId="1afa8510-4eed-4b73-a29e-678838cd8acd" providerId="ADAL" clId="{C58DBB88-EC80-4135-8C14-80D2FEEFCB85}" dt="2023-06-27T09:07:12.781" v="25"/>
            <ac:picMkLst>
              <pc:docMk/>
              <pc:sldMasterMk cId="2253695231" sldId="2147483754"/>
              <pc:sldLayoutMk cId="3938857042" sldId="2147483927"/>
              <ac:picMk id="9" creationId="{A4B2CAE1-C41B-4F75-42AE-8CE173B8BBF9}"/>
            </ac:picMkLst>
          </pc:picChg>
        </pc:sldLayoutChg>
        <pc:sldLayoutChg chg="addSp delSp modSp mod">
          <pc:chgData name="Hans Gelissen (DHL SSC Maastricht)" userId="1afa8510-4eed-4b73-a29e-678838cd8acd" providerId="ADAL" clId="{C58DBB88-EC80-4135-8C14-80D2FEEFCB85}" dt="2023-06-27T09:07:10.355" v="24"/>
          <pc:sldLayoutMkLst>
            <pc:docMk/>
            <pc:sldMasterMk cId="2253695231" sldId="2147483754"/>
            <pc:sldLayoutMk cId="1977547776" sldId="2147483928"/>
          </pc:sldLayoutMkLst>
          <pc:spChg chg="mod">
            <ac:chgData name="Hans Gelissen (DHL SSC Maastricht)" userId="1afa8510-4eed-4b73-a29e-678838cd8acd" providerId="ADAL" clId="{C58DBB88-EC80-4135-8C14-80D2FEEFCB85}" dt="2023-06-27T09:07:10.355" v="24"/>
            <ac:spMkLst>
              <pc:docMk/>
              <pc:sldMasterMk cId="2253695231" sldId="2147483754"/>
              <pc:sldLayoutMk cId="1977547776" sldId="2147483928"/>
              <ac:spMk id="6" creationId="{01D4999B-35F2-0D48-3FD0-C08D5564012F}"/>
            </ac:spMkLst>
          </pc:spChg>
          <pc:grpChg chg="add mod">
            <ac:chgData name="Hans Gelissen (DHL SSC Maastricht)" userId="1afa8510-4eed-4b73-a29e-678838cd8acd" providerId="ADAL" clId="{C58DBB88-EC80-4135-8C14-80D2FEEFCB85}" dt="2023-06-27T09:07:10.355" v="24"/>
            <ac:grpSpMkLst>
              <pc:docMk/>
              <pc:sldMasterMk cId="2253695231" sldId="2147483754"/>
              <pc:sldLayoutMk cId="1977547776" sldId="2147483928"/>
              <ac:grpSpMk id="2" creationId="{0770F7FF-0625-B12E-257B-1BDCED4BF2E6}"/>
            </ac:grpSpMkLst>
          </pc:grpChg>
          <pc:grpChg chg="del">
            <ac:chgData name="Hans Gelissen (DHL SSC Maastricht)" userId="1afa8510-4eed-4b73-a29e-678838cd8acd" providerId="ADAL" clId="{C58DBB88-EC80-4135-8C14-80D2FEEFCB85}" dt="2023-06-27T09:06:44.673" v="12" actId="478"/>
            <ac:grpSpMkLst>
              <pc:docMk/>
              <pc:sldMasterMk cId="2253695231" sldId="2147483754"/>
              <pc:sldLayoutMk cId="1977547776" sldId="2147483928"/>
              <ac:grpSpMk id="65" creationId="{1BDED68A-58CE-477A-8081-6078BF2E6B86}"/>
            </ac:grpSpMkLst>
          </pc:grpChg>
          <pc:picChg chg="mod">
            <ac:chgData name="Hans Gelissen (DHL SSC Maastricht)" userId="1afa8510-4eed-4b73-a29e-678838cd8acd" providerId="ADAL" clId="{C58DBB88-EC80-4135-8C14-80D2FEEFCB85}" dt="2023-06-27T09:07:10.355" v="24"/>
            <ac:picMkLst>
              <pc:docMk/>
              <pc:sldMasterMk cId="2253695231" sldId="2147483754"/>
              <pc:sldLayoutMk cId="1977547776" sldId="2147483928"/>
              <ac:picMk id="7" creationId="{E705D6A0-A45C-E3CD-CAB9-EA0E2843D9FC}"/>
            </ac:picMkLst>
          </pc:picChg>
          <pc:picChg chg="mod">
            <ac:chgData name="Hans Gelissen (DHL SSC Maastricht)" userId="1afa8510-4eed-4b73-a29e-678838cd8acd" providerId="ADAL" clId="{C58DBB88-EC80-4135-8C14-80D2FEEFCB85}" dt="2023-06-27T09:07:10.355" v="24"/>
            <ac:picMkLst>
              <pc:docMk/>
              <pc:sldMasterMk cId="2253695231" sldId="2147483754"/>
              <pc:sldLayoutMk cId="1977547776" sldId="2147483928"/>
              <ac:picMk id="8" creationId="{58EAEDAF-62EC-4ED1-9B66-BECBC8D08944}"/>
            </ac:picMkLst>
          </pc:picChg>
          <pc:picChg chg="mod">
            <ac:chgData name="Hans Gelissen (DHL SSC Maastricht)" userId="1afa8510-4eed-4b73-a29e-678838cd8acd" providerId="ADAL" clId="{C58DBB88-EC80-4135-8C14-80D2FEEFCB85}" dt="2023-06-27T09:07:10.355" v="24"/>
            <ac:picMkLst>
              <pc:docMk/>
              <pc:sldMasterMk cId="2253695231" sldId="2147483754"/>
              <pc:sldLayoutMk cId="1977547776" sldId="2147483928"/>
              <ac:picMk id="9" creationId="{F313BD0B-B28E-82A6-F0C4-CD58B9BE7275}"/>
            </ac:picMkLst>
          </pc:picChg>
        </pc:sldLayoutChg>
        <pc:sldLayoutChg chg="addSp delSp modSp mod">
          <pc:chgData name="Hans Gelissen (DHL SSC Maastricht)" userId="1afa8510-4eed-4b73-a29e-678838cd8acd" providerId="ADAL" clId="{C58DBB88-EC80-4135-8C14-80D2FEEFCB85}" dt="2023-06-27T09:07:09.017" v="22"/>
          <pc:sldLayoutMkLst>
            <pc:docMk/>
            <pc:sldMasterMk cId="2253695231" sldId="2147483754"/>
            <pc:sldLayoutMk cId="2904998504" sldId="2147483974"/>
          </pc:sldLayoutMkLst>
          <pc:spChg chg="mod">
            <ac:chgData name="Hans Gelissen (DHL SSC Maastricht)" userId="1afa8510-4eed-4b73-a29e-678838cd8acd" providerId="ADAL" clId="{C58DBB88-EC80-4135-8C14-80D2FEEFCB85}" dt="2023-06-27T09:07:09.017" v="22"/>
            <ac:spMkLst>
              <pc:docMk/>
              <pc:sldMasterMk cId="2253695231" sldId="2147483754"/>
              <pc:sldLayoutMk cId="2904998504" sldId="2147483974"/>
              <ac:spMk id="6" creationId="{AD720CA5-70BF-AB0B-4B6D-4B8E63BC4F9E}"/>
            </ac:spMkLst>
          </pc:spChg>
          <pc:grpChg chg="add mod">
            <ac:chgData name="Hans Gelissen (DHL SSC Maastricht)" userId="1afa8510-4eed-4b73-a29e-678838cd8acd" providerId="ADAL" clId="{C58DBB88-EC80-4135-8C14-80D2FEEFCB85}" dt="2023-06-27T09:07:09.017" v="22"/>
            <ac:grpSpMkLst>
              <pc:docMk/>
              <pc:sldMasterMk cId="2253695231" sldId="2147483754"/>
              <pc:sldLayoutMk cId="2904998504" sldId="2147483974"/>
              <ac:grpSpMk id="2" creationId="{760D1675-8137-6214-357A-F9783E04B5FC}"/>
            </ac:grpSpMkLst>
          </pc:grpChg>
          <pc:grpChg chg="del">
            <ac:chgData name="Hans Gelissen (DHL SSC Maastricht)" userId="1afa8510-4eed-4b73-a29e-678838cd8acd" providerId="ADAL" clId="{C58DBB88-EC80-4135-8C14-80D2FEEFCB85}" dt="2023-06-27T09:06:47.088" v="14" actId="478"/>
            <ac:grpSpMkLst>
              <pc:docMk/>
              <pc:sldMasterMk cId="2253695231" sldId="2147483754"/>
              <pc:sldLayoutMk cId="2904998504" sldId="2147483974"/>
              <ac:grpSpMk id="65" creationId="{1BDED68A-58CE-477A-8081-6078BF2E6B86}"/>
            </ac:grpSpMkLst>
          </pc:grpChg>
          <pc:picChg chg="mod">
            <ac:chgData name="Hans Gelissen (DHL SSC Maastricht)" userId="1afa8510-4eed-4b73-a29e-678838cd8acd" providerId="ADAL" clId="{C58DBB88-EC80-4135-8C14-80D2FEEFCB85}" dt="2023-06-27T09:07:09.017" v="22"/>
            <ac:picMkLst>
              <pc:docMk/>
              <pc:sldMasterMk cId="2253695231" sldId="2147483754"/>
              <pc:sldLayoutMk cId="2904998504" sldId="2147483974"/>
              <ac:picMk id="7" creationId="{1AFC8E44-B5C7-3A6C-12AE-7760B55DB79F}"/>
            </ac:picMkLst>
          </pc:picChg>
          <pc:picChg chg="mod">
            <ac:chgData name="Hans Gelissen (DHL SSC Maastricht)" userId="1afa8510-4eed-4b73-a29e-678838cd8acd" providerId="ADAL" clId="{C58DBB88-EC80-4135-8C14-80D2FEEFCB85}" dt="2023-06-27T09:07:09.017" v="22"/>
            <ac:picMkLst>
              <pc:docMk/>
              <pc:sldMasterMk cId="2253695231" sldId="2147483754"/>
              <pc:sldLayoutMk cId="2904998504" sldId="2147483974"/>
              <ac:picMk id="8" creationId="{7DADCCAD-8B89-28C7-E260-5D4CDCDCD202}"/>
            </ac:picMkLst>
          </pc:picChg>
          <pc:picChg chg="mod">
            <ac:chgData name="Hans Gelissen (DHL SSC Maastricht)" userId="1afa8510-4eed-4b73-a29e-678838cd8acd" providerId="ADAL" clId="{C58DBB88-EC80-4135-8C14-80D2FEEFCB85}" dt="2023-06-27T09:07:09.017" v="22"/>
            <ac:picMkLst>
              <pc:docMk/>
              <pc:sldMasterMk cId="2253695231" sldId="2147483754"/>
              <pc:sldLayoutMk cId="2904998504" sldId="2147483974"/>
              <ac:picMk id="9" creationId="{7E1DEC58-1EC1-7704-5406-57AB6D6B7178}"/>
            </ac:picMkLst>
          </pc:picChg>
        </pc:sldLayoutChg>
        <pc:sldLayoutChg chg="addSp delSp modSp mod">
          <pc:chgData name="Hans Gelissen (DHL SSC Maastricht)" userId="1afa8510-4eed-4b73-a29e-678838cd8acd" providerId="ADAL" clId="{C58DBB88-EC80-4135-8C14-80D2FEEFCB85}" dt="2023-06-27T09:07:05.593" v="21" actId="1076"/>
          <pc:sldLayoutMkLst>
            <pc:docMk/>
            <pc:sldMasterMk cId="2253695231" sldId="2147483754"/>
            <pc:sldLayoutMk cId="40428502" sldId="2147483975"/>
          </pc:sldLayoutMkLst>
          <pc:spChg chg="add mod">
            <ac:chgData name="Hans Gelissen (DHL SSC Maastricht)" userId="1afa8510-4eed-4b73-a29e-678838cd8acd" providerId="ADAL" clId="{C58DBB88-EC80-4135-8C14-80D2FEEFCB85}" dt="2023-06-27T09:06:52.357" v="16"/>
            <ac:spMkLst>
              <pc:docMk/>
              <pc:sldMasterMk cId="2253695231" sldId="2147483754"/>
              <pc:sldLayoutMk cId="40428502" sldId="2147483975"/>
              <ac:spMk id="6" creationId="{33ADF81C-64FF-5830-4D41-594A1E2C29D4}"/>
            </ac:spMkLst>
          </pc:spChg>
          <pc:grpChg chg="add mod">
            <ac:chgData name="Hans Gelissen (DHL SSC Maastricht)" userId="1afa8510-4eed-4b73-a29e-678838cd8acd" providerId="ADAL" clId="{C58DBB88-EC80-4135-8C14-80D2FEEFCB85}" dt="2023-06-27T09:07:05.593" v="21" actId="1076"/>
            <ac:grpSpMkLst>
              <pc:docMk/>
              <pc:sldMasterMk cId="2253695231" sldId="2147483754"/>
              <pc:sldLayoutMk cId="40428502" sldId="2147483975"/>
              <ac:grpSpMk id="2" creationId="{E1E55529-5152-004A-CC1B-1EC765D245B9}"/>
            </ac:grpSpMkLst>
          </pc:grpChg>
          <pc:grpChg chg="del">
            <ac:chgData name="Hans Gelissen (DHL SSC Maastricht)" userId="1afa8510-4eed-4b73-a29e-678838cd8acd" providerId="ADAL" clId="{C58DBB88-EC80-4135-8C14-80D2FEEFCB85}" dt="2023-06-27T09:06:48.124" v="15" actId="478"/>
            <ac:grpSpMkLst>
              <pc:docMk/>
              <pc:sldMasterMk cId="2253695231" sldId="2147483754"/>
              <pc:sldLayoutMk cId="40428502" sldId="2147483975"/>
              <ac:grpSpMk id="65" creationId="{1BDED68A-58CE-477A-8081-6078BF2E6B86}"/>
            </ac:grpSpMkLst>
          </pc:grpChg>
          <pc:picChg chg="add mod">
            <ac:chgData name="Hans Gelissen (DHL SSC Maastricht)" userId="1afa8510-4eed-4b73-a29e-678838cd8acd" providerId="ADAL" clId="{C58DBB88-EC80-4135-8C14-80D2FEEFCB85}" dt="2023-06-27T09:06:52.357" v="16"/>
            <ac:picMkLst>
              <pc:docMk/>
              <pc:sldMasterMk cId="2253695231" sldId="2147483754"/>
              <pc:sldLayoutMk cId="40428502" sldId="2147483975"/>
              <ac:picMk id="7" creationId="{8B8A01D3-0280-C0B8-62A5-B7440F21E09E}"/>
            </ac:picMkLst>
          </pc:picChg>
          <pc:picChg chg="add mod">
            <ac:chgData name="Hans Gelissen (DHL SSC Maastricht)" userId="1afa8510-4eed-4b73-a29e-678838cd8acd" providerId="ADAL" clId="{C58DBB88-EC80-4135-8C14-80D2FEEFCB85}" dt="2023-06-27T09:06:52.357" v="16"/>
            <ac:picMkLst>
              <pc:docMk/>
              <pc:sldMasterMk cId="2253695231" sldId="2147483754"/>
              <pc:sldLayoutMk cId="40428502" sldId="2147483975"/>
              <ac:picMk id="8" creationId="{DF43539D-2D01-D2C0-1806-52D5E198832D}"/>
            </ac:picMkLst>
          </pc:picChg>
          <pc:picChg chg="add mod">
            <ac:chgData name="Hans Gelissen (DHL SSC Maastricht)" userId="1afa8510-4eed-4b73-a29e-678838cd8acd" providerId="ADAL" clId="{C58DBB88-EC80-4135-8C14-80D2FEEFCB85}" dt="2023-06-27T09:06:52.357" v="16"/>
            <ac:picMkLst>
              <pc:docMk/>
              <pc:sldMasterMk cId="2253695231" sldId="2147483754"/>
              <pc:sldLayoutMk cId="40428502" sldId="2147483975"/>
              <ac:picMk id="9" creationId="{A1B7FD58-3E15-C8B9-9CE5-AC013B40A21D}"/>
            </ac:picMkLst>
          </pc:picChg>
          <pc:picChg chg="mod">
            <ac:chgData name="Hans Gelissen (DHL SSC Maastricht)" userId="1afa8510-4eed-4b73-a29e-678838cd8acd" providerId="ADAL" clId="{C58DBB88-EC80-4135-8C14-80D2FEEFCB85}" dt="2023-06-27T09:06:58.777" v="20" actId="1076"/>
            <ac:picMkLst>
              <pc:docMk/>
              <pc:sldMasterMk cId="2253695231" sldId="2147483754"/>
              <pc:sldLayoutMk cId="40428502" sldId="2147483975"/>
              <ac:picMk id="15362" creationId="{AA636C35-A380-4E44-A95F-3CE588892429}"/>
            </ac:picMkLst>
          </pc:picChg>
        </pc:sldLayoutChg>
        <pc:sldLayoutChg chg="addSp delSp modSp mod">
          <pc:chgData name="Hans Gelissen (DHL SSC Maastricht)" userId="1afa8510-4eed-4b73-a29e-678838cd8acd" providerId="ADAL" clId="{C58DBB88-EC80-4135-8C14-80D2FEEFCB85}" dt="2023-06-27T09:07:09.667" v="23"/>
          <pc:sldLayoutMkLst>
            <pc:docMk/>
            <pc:sldMasterMk cId="2253695231" sldId="2147483754"/>
            <pc:sldLayoutMk cId="2180802559" sldId="2147483976"/>
          </pc:sldLayoutMkLst>
          <pc:spChg chg="mod">
            <ac:chgData name="Hans Gelissen (DHL SSC Maastricht)" userId="1afa8510-4eed-4b73-a29e-678838cd8acd" providerId="ADAL" clId="{C58DBB88-EC80-4135-8C14-80D2FEEFCB85}" dt="2023-06-27T09:07:09.667" v="23"/>
            <ac:spMkLst>
              <pc:docMk/>
              <pc:sldMasterMk cId="2253695231" sldId="2147483754"/>
              <pc:sldLayoutMk cId="2180802559" sldId="2147483976"/>
              <ac:spMk id="6" creationId="{BEC3F987-47F4-9F68-E2F3-65C1B62671D0}"/>
            </ac:spMkLst>
          </pc:spChg>
          <pc:grpChg chg="add mod">
            <ac:chgData name="Hans Gelissen (DHL SSC Maastricht)" userId="1afa8510-4eed-4b73-a29e-678838cd8acd" providerId="ADAL" clId="{C58DBB88-EC80-4135-8C14-80D2FEEFCB85}" dt="2023-06-27T09:07:09.667" v="23"/>
            <ac:grpSpMkLst>
              <pc:docMk/>
              <pc:sldMasterMk cId="2253695231" sldId="2147483754"/>
              <pc:sldLayoutMk cId="2180802559" sldId="2147483976"/>
              <ac:grpSpMk id="2" creationId="{84ED57AC-5561-7088-384F-1315722D2853}"/>
            </ac:grpSpMkLst>
          </pc:grpChg>
          <pc:grpChg chg="del">
            <ac:chgData name="Hans Gelissen (DHL SSC Maastricht)" userId="1afa8510-4eed-4b73-a29e-678838cd8acd" providerId="ADAL" clId="{C58DBB88-EC80-4135-8C14-80D2FEEFCB85}" dt="2023-06-27T09:06:45.844" v="13" actId="478"/>
            <ac:grpSpMkLst>
              <pc:docMk/>
              <pc:sldMasterMk cId="2253695231" sldId="2147483754"/>
              <pc:sldLayoutMk cId="2180802559" sldId="2147483976"/>
              <ac:grpSpMk id="65" creationId="{1BDED68A-58CE-477A-8081-6078BF2E6B86}"/>
            </ac:grpSpMkLst>
          </pc:grpChg>
          <pc:picChg chg="mod">
            <ac:chgData name="Hans Gelissen (DHL SSC Maastricht)" userId="1afa8510-4eed-4b73-a29e-678838cd8acd" providerId="ADAL" clId="{C58DBB88-EC80-4135-8C14-80D2FEEFCB85}" dt="2023-06-27T09:07:09.667" v="23"/>
            <ac:picMkLst>
              <pc:docMk/>
              <pc:sldMasterMk cId="2253695231" sldId="2147483754"/>
              <pc:sldLayoutMk cId="2180802559" sldId="2147483976"/>
              <ac:picMk id="7" creationId="{C3735B1B-C8E6-D643-75FE-CF4AB0313966}"/>
            </ac:picMkLst>
          </pc:picChg>
          <pc:picChg chg="mod">
            <ac:chgData name="Hans Gelissen (DHL SSC Maastricht)" userId="1afa8510-4eed-4b73-a29e-678838cd8acd" providerId="ADAL" clId="{C58DBB88-EC80-4135-8C14-80D2FEEFCB85}" dt="2023-06-27T09:07:09.667" v="23"/>
            <ac:picMkLst>
              <pc:docMk/>
              <pc:sldMasterMk cId="2253695231" sldId="2147483754"/>
              <pc:sldLayoutMk cId="2180802559" sldId="2147483976"/>
              <ac:picMk id="8" creationId="{A85A6A3E-585D-5F39-6D27-AFD9A754EAFE}"/>
            </ac:picMkLst>
          </pc:picChg>
          <pc:picChg chg="mod">
            <ac:chgData name="Hans Gelissen (DHL SSC Maastricht)" userId="1afa8510-4eed-4b73-a29e-678838cd8acd" providerId="ADAL" clId="{C58DBB88-EC80-4135-8C14-80D2FEEFCB85}" dt="2023-06-27T09:07:09.667" v="23"/>
            <ac:picMkLst>
              <pc:docMk/>
              <pc:sldMasterMk cId="2253695231" sldId="2147483754"/>
              <pc:sldLayoutMk cId="2180802559" sldId="2147483976"/>
              <ac:picMk id="9" creationId="{EE4E876C-2D80-4CA3-561C-127C77C24C21}"/>
            </ac:picMkLst>
          </pc:picChg>
        </pc:sldLayoutChg>
      </pc:sldMasterChg>
      <pc:sldMasterChg chg="modSldLayout">
        <pc:chgData name="Hans Gelissen (DHL SSC Maastricht)" userId="1afa8510-4eed-4b73-a29e-678838cd8acd" providerId="ADAL" clId="{C58DBB88-EC80-4135-8C14-80D2FEEFCB85}" dt="2023-06-27T09:08:01.536" v="68"/>
        <pc:sldMasterMkLst>
          <pc:docMk/>
          <pc:sldMasterMk cId="2791372136" sldId="2147483777"/>
        </pc:sldMasterMkLst>
        <pc:sldLayoutChg chg="addSp delSp modSp mod">
          <pc:chgData name="Hans Gelissen (DHL SSC Maastricht)" userId="1afa8510-4eed-4b73-a29e-678838cd8acd" providerId="ADAL" clId="{C58DBB88-EC80-4135-8C14-80D2FEEFCB85}" dt="2023-06-27T09:07:46.665" v="53"/>
          <pc:sldLayoutMkLst>
            <pc:docMk/>
            <pc:sldMasterMk cId="2791372136" sldId="2147483777"/>
            <pc:sldLayoutMk cId="1312088382" sldId="2147483778"/>
          </pc:sldLayoutMkLst>
          <pc:spChg chg="mod">
            <ac:chgData name="Hans Gelissen (DHL SSC Maastricht)" userId="1afa8510-4eed-4b73-a29e-678838cd8acd" providerId="ADAL" clId="{C58DBB88-EC80-4135-8C14-80D2FEEFCB85}" dt="2023-06-27T09:07:46.665" v="53"/>
            <ac:spMkLst>
              <pc:docMk/>
              <pc:sldMasterMk cId="2791372136" sldId="2147483777"/>
              <pc:sldLayoutMk cId="1312088382" sldId="2147483778"/>
              <ac:spMk id="3" creationId="{6C780896-6EEB-D156-FB8B-F33FD391774E}"/>
            </ac:spMkLst>
          </pc:spChg>
          <pc:grpChg chg="add mod">
            <ac:chgData name="Hans Gelissen (DHL SSC Maastricht)" userId="1afa8510-4eed-4b73-a29e-678838cd8acd" providerId="ADAL" clId="{C58DBB88-EC80-4135-8C14-80D2FEEFCB85}" dt="2023-06-27T09:07:46.665" v="53"/>
            <ac:grpSpMkLst>
              <pc:docMk/>
              <pc:sldMasterMk cId="2791372136" sldId="2147483777"/>
              <pc:sldLayoutMk cId="1312088382" sldId="2147483778"/>
              <ac:grpSpMk id="2" creationId="{B3216D0A-DC0C-F92A-C5E0-43213FF062A7}"/>
            </ac:grpSpMkLst>
          </pc:grpChg>
          <pc:grpChg chg="del">
            <ac:chgData name="Hans Gelissen (DHL SSC Maastricht)" userId="1afa8510-4eed-4b73-a29e-678838cd8acd" providerId="ADAL" clId="{C58DBB88-EC80-4135-8C14-80D2FEEFCB85}" dt="2023-06-27T09:07:43.868" v="52" actId="478"/>
            <ac:grpSpMkLst>
              <pc:docMk/>
              <pc:sldMasterMk cId="2791372136" sldId="2147483777"/>
              <pc:sldLayoutMk cId="1312088382" sldId="2147483778"/>
              <ac:grpSpMk id="19" creationId="{415A3D1A-37E6-49DF-9012-F8D327340F26}"/>
            </ac:grpSpMkLst>
          </pc:grpChg>
          <pc:picChg chg="mod">
            <ac:chgData name="Hans Gelissen (DHL SSC Maastricht)" userId="1afa8510-4eed-4b73-a29e-678838cd8acd" providerId="ADAL" clId="{C58DBB88-EC80-4135-8C14-80D2FEEFCB85}" dt="2023-06-27T09:07:46.665" v="53"/>
            <ac:picMkLst>
              <pc:docMk/>
              <pc:sldMasterMk cId="2791372136" sldId="2147483777"/>
              <pc:sldLayoutMk cId="1312088382" sldId="2147483778"/>
              <ac:picMk id="4" creationId="{92435A53-F0CF-3FCE-E1E3-A7064E91CDA8}"/>
            </ac:picMkLst>
          </pc:picChg>
          <pc:picChg chg="mod">
            <ac:chgData name="Hans Gelissen (DHL SSC Maastricht)" userId="1afa8510-4eed-4b73-a29e-678838cd8acd" providerId="ADAL" clId="{C58DBB88-EC80-4135-8C14-80D2FEEFCB85}" dt="2023-06-27T09:07:46.665" v="53"/>
            <ac:picMkLst>
              <pc:docMk/>
              <pc:sldMasterMk cId="2791372136" sldId="2147483777"/>
              <pc:sldLayoutMk cId="1312088382" sldId="2147483778"/>
              <ac:picMk id="5" creationId="{7A290F0C-C1D6-3528-4F3F-E9C9135C1622}"/>
            </ac:picMkLst>
          </pc:picChg>
          <pc:picChg chg="mod">
            <ac:chgData name="Hans Gelissen (DHL SSC Maastricht)" userId="1afa8510-4eed-4b73-a29e-678838cd8acd" providerId="ADAL" clId="{C58DBB88-EC80-4135-8C14-80D2FEEFCB85}" dt="2023-06-27T09:07:46.665" v="53"/>
            <ac:picMkLst>
              <pc:docMk/>
              <pc:sldMasterMk cId="2791372136" sldId="2147483777"/>
              <pc:sldLayoutMk cId="1312088382" sldId="2147483778"/>
              <ac:picMk id="6" creationId="{DC3D3AF2-FCE4-254B-EF86-EBAB845850DE}"/>
            </ac:picMkLst>
          </pc:picChg>
        </pc:sldLayoutChg>
        <pc:sldLayoutChg chg="addSp delSp modSp mod">
          <pc:chgData name="Hans Gelissen (DHL SSC Maastricht)" userId="1afa8510-4eed-4b73-a29e-678838cd8acd" providerId="ADAL" clId="{C58DBB88-EC80-4135-8C14-80D2FEEFCB85}" dt="2023-06-27T09:07:47.394" v="54"/>
          <pc:sldLayoutMkLst>
            <pc:docMk/>
            <pc:sldMasterMk cId="2791372136" sldId="2147483777"/>
            <pc:sldLayoutMk cId="1377313598" sldId="2147483779"/>
          </pc:sldLayoutMkLst>
          <pc:spChg chg="mod">
            <ac:chgData name="Hans Gelissen (DHL SSC Maastricht)" userId="1afa8510-4eed-4b73-a29e-678838cd8acd" providerId="ADAL" clId="{C58DBB88-EC80-4135-8C14-80D2FEEFCB85}" dt="2023-06-27T09:07:47.394" v="54"/>
            <ac:spMkLst>
              <pc:docMk/>
              <pc:sldMasterMk cId="2791372136" sldId="2147483777"/>
              <pc:sldLayoutMk cId="1377313598" sldId="2147483779"/>
              <ac:spMk id="3" creationId="{8016719A-3A2F-DE26-6789-0BCE9EBE5F60}"/>
            </ac:spMkLst>
          </pc:spChg>
          <pc:grpChg chg="add mod">
            <ac:chgData name="Hans Gelissen (DHL SSC Maastricht)" userId="1afa8510-4eed-4b73-a29e-678838cd8acd" providerId="ADAL" clId="{C58DBB88-EC80-4135-8C14-80D2FEEFCB85}" dt="2023-06-27T09:07:47.394" v="54"/>
            <ac:grpSpMkLst>
              <pc:docMk/>
              <pc:sldMasterMk cId="2791372136" sldId="2147483777"/>
              <pc:sldLayoutMk cId="1377313598" sldId="2147483779"/>
              <ac:grpSpMk id="2" creationId="{ED01E9C3-0F58-EBF1-D754-5302EE08BBF7}"/>
            </ac:grpSpMkLst>
          </pc:grpChg>
          <pc:grpChg chg="del">
            <ac:chgData name="Hans Gelissen (DHL SSC Maastricht)" userId="1afa8510-4eed-4b73-a29e-678838cd8acd" providerId="ADAL" clId="{C58DBB88-EC80-4135-8C14-80D2FEEFCB85}" dt="2023-06-27T09:07:42.769" v="51" actId="478"/>
            <ac:grpSpMkLst>
              <pc:docMk/>
              <pc:sldMasterMk cId="2791372136" sldId="2147483777"/>
              <pc:sldLayoutMk cId="1377313598" sldId="2147483779"/>
              <ac:grpSpMk id="65" creationId="{1BDED68A-58CE-477A-8081-6078BF2E6B86}"/>
            </ac:grpSpMkLst>
          </pc:grpChg>
          <pc:picChg chg="mod">
            <ac:chgData name="Hans Gelissen (DHL SSC Maastricht)" userId="1afa8510-4eed-4b73-a29e-678838cd8acd" providerId="ADAL" clId="{C58DBB88-EC80-4135-8C14-80D2FEEFCB85}" dt="2023-06-27T09:07:47.394" v="54"/>
            <ac:picMkLst>
              <pc:docMk/>
              <pc:sldMasterMk cId="2791372136" sldId="2147483777"/>
              <pc:sldLayoutMk cId="1377313598" sldId="2147483779"/>
              <ac:picMk id="4" creationId="{73746675-7F5A-6B38-F5E0-268768AB6535}"/>
            </ac:picMkLst>
          </pc:picChg>
          <pc:picChg chg="mod">
            <ac:chgData name="Hans Gelissen (DHL SSC Maastricht)" userId="1afa8510-4eed-4b73-a29e-678838cd8acd" providerId="ADAL" clId="{C58DBB88-EC80-4135-8C14-80D2FEEFCB85}" dt="2023-06-27T09:07:47.394" v="54"/>
            <ac:picMkLst>
              <pc:docMk/>
              <pc:sldMasterMk cId="2791372136" sldId="2147483777"/>
              <pc:sldLayoutMk cId="1377313598" sldId="2147483779"/>
              <ac:picMk id="5" creationId="{DA41826F-1680-5B4B-9E82-62BADEAE5B5B}"/>
            </ac:picMkLst>
          </pc:picChg>
          <pc:picChg chg="mod">
            <ac:chgData name="Hans Gelissen (DHL SSC Maastricht)" userId="1afa8510-4eed-4b73-a29e-678838cd8acd" providerId="ADAL" clId="{C58DBB88-EC80-4135-8C14-80D2FEEFCB85}" dt="2023-06-27T09:07:47.394" v="54"/>
            <ac:picMkLst>
              <pc:docMk/>
              <pc:sldMasterMk cId="2791372136" sldId="2147483777"/>
              <pc:sldLayoutMk cId="1377313598" sldId="2147483779"/>
              <ac:picMk id="6" creationId="{8B388257-1B6D-C580-6919-D1012420EAAC}"/>
            </ac:picMkLst>
          </pc:picChg>
        </pc:sldLayoutChg>
        <pc:sldLayoutChg chg="addSp delSp modSp mod">
          <pc:chgData name="Hans Gelissen (DHL SSC Maastricht)" userId="1afa8510-4eed-4b73-a29e-678838cd8acd" providerId="ADAL" clId="{C58DBB88-EC80-4135-8C14-80D2FEEFCB85}" dt="2023-06-27T09:07:48.870" v="56"/>
          <pc:sldLayoutMkLst>
            <pc:docMk/>
            <pc:sldMasterMk cId="2791372136" sldId="2147483777"/>
            <pc:sldLayoutMk cId="3116599637" sldId="2147483834"/>
          </pc:sldLayoutMkLst>
          <pc:spChg chg="mod">
            <ac:chgData name="Hans Gelissen (DHL SSC Maastricht)" userId="1afa8510-4eed-4b73-a29e-678838cd8acd" providerId="ADAL" clId="{C58DBB88-EC80-4135-8C14-80D2FEEFCB85}" dt="2023-06-27T09:07:48.870" v="56"/>
            <ac:spMkLst>
              <pc:docMk/>
              <pc:sldMasterMk cId="2791372136" sldId="2147483777"/>
              <pc:sldLayoutMk cId="3116599637" sldId="2147483834"/>
              <ac:spMk id="4" creationId="{0145C73A-9795-02FA-06C9-972DD2D5F887}"/>
            </ac:spMkLst>
          </pc:spChg>
          <pc:grpChg chg="add mod">
            <ac:chgData name="Hans Gelissen (DHL SSC Maastricht)" userId="1afa8510-4eed-4b73-a29e-678838cd8acd" providerId="ADAL" clId="{C58DBB88-EC80-4135-8C14-80D2FEEFCB85}" dt="2023-06-27T09:07:48.870" v="56"/>
            <ac:grpSpMkLst>
              <pc:docMk/>
              <pc:sldMasterMk cId="2791372136" sldId="2147483777"/>
              <pc:sldLayoutMk cId="3116599637" sldId="2147483834"/>
              <ac:grpSpMk id="2" creationId="{9C7B41F5-2A9D-3844-E2CF-F5ED5C90A31E}"/>
            </ac:grpSpMkLst>
          </pc:grpChg>
          <pc:grpChg chg="del">
            <ac:chgData name="Hans Gelissen (DHL SSC Maastricht)" userId="1afa8510-4eed-4b73-a29e-678838cd8acd" providerId="ADAL" clId="{C58DBB88-EC80-4135-8C14-80D2FEEFCB85}" dt="2023-06-27T09:07:40.180" v="49" actId="478"/>
            <ac:grpSpMkLst>
              <pc:docMk/>
              <pc:sldMasterMk cId="2791372136" sldId="2147483777"/>
              <pc:sldLayoutMk cId="3116599637" sldId="2147483834"/>
              <ac:grpSpMk id="65" creationId="{1BDED68A-58CE-477A-8081-6078BF2E6B86}"/>
            </ac:grpSpMkLst>
          </pc:grpChg>
          <pc:picChg chg="mod">
            <ac:chgData name="Hans Gelissen (DHL SSC Maastricht)" userId="1afa8510-4eed-4b73-a29e-678838cd8acd" providerId="ADAL" clId="{C58DBB88-EC80-4135-8C14-80D2FEEFCB85}" dt="2023-06-27T09:07:48.870" v="56"/>
            <ac:picMkLst>
              <pc:docMk/>
              <pc:sldMasterMk cId="2791372136" sldId="2147483777"/>
              <pc:sldLayoutMk cId="3116599637" sldId="2147483834"/>
              <ac:picMk id="5" creationId="{C3B745BB-AF2D-C7BD-16AD-1A5D4C12277F}"/>
            </ac:picMkLst>
          </pc:picChg>
          <pc:picChg chg="mod">
            <ac:chgData name="Hans Gelissen (DHL SSC Maastricht)" userId="1afa8510-4eed-4b73-a29e-678838cd8acd" providerId="ADAL" clId="{C58DBB88-EC80-4135-8C14-80D2FEEFCB85}" dt="2023-06-27T09:07:48.870" v="56"/>
            <ac:picMkLst>
              <pc:docMk/>
              <pc:sldMasterMk cId="2791372136" sldId="2147483777"/>
              <pc:sldLayoutMk cId="3116599637" sldId="2147483834"/>
              <ac:picMk id="6" creationId="{66882C8A-6F9C-107A-66C2-1315E0017837}"/>
            </ac:picMkLst>
          </pc:picChg>
          <pc:picChg chg="mod">
            <ac:chgData name="Hans Gelissen (DHL SSC Maastricht)" userId="1afa8510-4eed-4b73-a29e-678838cd8acd" providerId="ADAL" clId="{C58DBB88-EC80-4135-8C14-80D2FEEFCB85}" dt="2023-06-27T09:07:48.870" v="56"/>
            <ac:picMkLst>
              <pc:docMk/>
              <pc:sldMasterMk cId="2791372136" sldId="2147483777"/>
              <pc:sldLayoutMk cId="3116599637" sldId="2147483834"/>
              <ac:picMk id="7" creationId="{15441871-4601-9116-F512-8DFC0A8E5C5D}"/>
            </ac:picMkLst>
          </pc:picChg>
        </pc:sldLayoutChg>
        <pc:sldLayoutChg chg="addSp delSp modSp mod">
          <pc:chgData name="Hans Gelissen (DHL SSC Maastricht)" userId="1afa8510-4eed-4b73-a29e-678838cd8acd" providerId="ADAL" clId="{C58DBB88-EC80-4135-8C14-80D2FEEFCB85}" dt="2023-06-27T09:07:48.111" v="55"/>
          <pc:sldLayoutMkLst>
            <pc:docMk/>
            <pc:sldMasterMk cId="2791372136" sldId="2147483777"/>
            <pc:sldLayoutMk cId="132838335" sldId="2147483835"/>
          </pc:sldLayoutMkLst>
          <pc:spChg chg="mod">
            <ac:chgData name="Hans Gelissen (DHL SSC Maastricht)" userId="1afa8510-4eed-4b73-a29e-678838cd8acd" providerId="ADAL" clId="{C58DBB88-EC80-4135-8C14-80D2FEEFCB85}" dt="2023-06-27T09:07:48.111" v="55"/>
            <ac:spMkLst>
              <pc:docMk/>
              <pc:sldMasterMk cId="2791372136" sldId="2147483777"/>
              <pc:sldLayoutMk cId="132838335" sldId="2147483835"/>
              <ac:spMk id="3" creationId="{97C67A01-0755-51B0-C622-5E773D28C01A}"/>
            </ac:spMkLst>
          </pc:spChg>
          <pc:grpChg chg="add mod">
            <ac:chgData name="Hans Gelissen (DHL SSC Maastricht)" userId="1afa8510-4eed-4b73-a29e-678838cd8acd" providerId="ADAL" clId="{C58DBB88-EC80-4135-8C14-80D2FEEFCB85}" dt="2023-06-27T09:07:48.111" v="55"/>
            <ac:grpSpMkLst>
              <pc:docMk/>
              <pc:sldMasterMk cId="2791372136" sldId="2147483777"/>
              <pc:sldLayoutMk cId="132838335" sldId="2147483835"/>
              <ac:grpSpMk id="2" creationId="{46905D59-225E-8992-F58A-53CE718DE51A}"/>
            </ac:grpSpMkLst>
          </pc:grpChg>
          <pc:grpChg chg="del">
            <ac:chgData name="Hans Gelissen (DHL SSC Maastricht)" userId="1afa8510-4eed-4b73-a29e-678838cd8acd" providerId="ADAL" clId="{C58DBB88-EC80-4135-8C14-80D2FEEFCB85}" dt="2023-06-27T09:07:41.772" v="50" actId="478"/>
            <ac:grpSpMkLst>
              <pc:docMk/>
              <pc:sldMasterMk cId="2791372136" sldId="2147483777"/>
              <pc:sldLayoutMk cId="132838335" sldId="2147483835"/>
              <ac:grpSpMk id="65" creationId="{1BDED68A-58CE-477A-8081-6078BF2E6B86}"/>
            </ac:grpSpMkLst>
          </pc:grpChg>
          <pc:picChg chg="mod">
            <ac:chgData name="Hans Gelissen (DHL SSC Maastricht)" userId="1afa8510-4eed-4b73-a29e-678838cd8acd" providerId="ADAL" clId="{C58DBB88-EC80-4135-8C14-80D2FEEFCB85}" dt="2023-06-27T09:07:48.111" v="55"/>
            <ac:picMkLst>
              <pc:docMk/>
              <pc:sldMasterMk cId="2791372136" sldId="2147483777"/>
              <pc:sldLayoutMk cId="132838335" sldId="2147483835"/>
              <ac:picMk id="4" creationId="{49BE082E-B5D5-2B39-D9D4-225E5A53A991}"/>
            </ac:picMkLst>
          </pc:picChg>
          <pc:picChg chg="mod">
            <ac:chgData name="Hans Gelissen (DHL SSC Maastricht)" userId="1afa8510-4eed-4b73-a29e-678838cd8acd" providerId="ADAL" clId="{C58DBB88-EC80-4135-8C14-80D2FEEFCB85}" dt="2023-06-27T09:07:48.111" v="55"/>
            <ac:picMkLst>
              <pc:docMk/>
              <pc:sldMasterMk cId="2791372136" sldId="2147483777"/>
              <pc:sldLayoutMk cId="132838335" sldId="2147483835"/>
              <ac:picMk id="5" creationId="{AE2D24B0-3251-3F1C-17E6-9C885B12840F}"/>
            </ac:picMkLst>
          </pc:picChg>
          <pc:picChg chg="mod">
            <ac:chgData name="Hans Gelissen (DHL SSC Maastricht)" userId="1afa8510-4eed-4b73-a29e-678838cd8acd" providerId="ADAL" clId="{C58DBB88-EC80-4135-8C14-80D2FEEFCB85}" dt="2023-06-27T09:07:48.111" v="55"/>
            <ac:picMkLst>
              <pc:docMk/>
              <pc:sldMasterMk cId="2791372136" sldId="2147483777"/>
              <pc:sldLayoutMk cId="132838335" sldId="2147483835"/>
              <ac:picMk id="6" creationId="{6574DD9F-3143-9F86-755A-047117DC30B5}"/>
            </ac:picMkLst>
          </pc:picChg>
        </pc:sldLayoutChg>
        <pc:sldLayoutChg chg="addSp delSp modSp mod">
          <pc:chgData name="Hans Gelissen (DHL SSC Maastricht)" userId="1afa8510-4eed-4b73-a29e-678838cd8acd" providerId="ADAL" clId="{C58DBB88-EC80-4135-8C14-80D2FEEFCB85}" dt="2023-06-27T09:07:51.042" v="57"/>
          <pc:sldLayoutMkLst>
            <pc:docMk/>
            <pc:sldMasterMk cId="2791372136" sldId="2147483777"/>
            <pc:sldLayoutMk cId="2840415572" sldId="2147483877"/>
          </pc:sldLayoutMkLst>
          <pc:spChg chg="mod">
            <ac:chgData name="Hans Gelissen (DHL SSC Maastricht)" userId="1afa8510-4eed-4b73-a29e-678838cd8acd" providerId="ADAL" clId="{C58DBB88-EC80-4135-8C14-80D2FEEFCB85}" dt="2023-06-27T09:07:51.042" v="57"/>
            <ac:spMkLst>
              <pc:docMk/>
              <pc:sldMasterMk cId="2791372136" sldId="2147483777"/>
              <pc:sldLayoutMk cId="2840415572" sldId="2147483877"/>
              <ac:spMk id="4" creationId="{C562E790-CBDD-3FCF-B678-BDDE0759B75C}"/>
            </ac:spMkLst>
          </pc:spChg>
          <pc:grpChg chg="add mod">
            <ac:chgData name="Hans Gelissen (DHL SSC Maastricht)" userId="1afa8510-4eed-4b73-a29e-678838cd8acd" providerId="ADAL" clId="{C58DBB88-EC80-4135-8C14-80D2FEEFCB85}" dt="2023-06-27T09:07:51.042" v="57"/>
            <ac:grpSpMkLst>
              <pc:docMk/>
              <pc:sldMasterMk cId="2791372136" sldId="2147483777"/>
              <pc:sldLayoutMk cId="2840415572" sldId="2147483877"/>
              <ac:grpSpMk id="2" creationId="{3DB7A360-BD92-2B78-F5A0-2E77FCF95CA1}"/>
            </ac:grpSpMkLst>
          </pc:grpChg>
          <pc:grpChg chg="del">
            <ac:chgData name="Hans Gelissen (DHL SSC Maastricht)" userId="1afa8510-4eed-4b73-a29e-678838cd8acd" providerId="ADAL" clId="{C58DBB88-EC80-4135-8C14-80D2FEEFCB85}" dt="2023-06-27T09:07:39.267" v="48" actId="478"/>
            <ac:grpSpMkLst>
              <pc:docMk/>
              <pc:sldMasterMk cId="2791372136" sldId="2147483777"/>
              <pc:sldLayoutMk cId="2840415572" sldId="2147483877"/>
              <ac:grpSpMk id="65" creationId="{1BDED68A-58CE-477A-8081-6078BF2E6B86}"/>
            </ac:grpSpMkLst>
          </pc:grpChg>
          <pc:picChg chg="mod">
            <ac:chgData name="Hans Gelissen (DHL SSC Maastricht)" userId="1afa8510-4eed-4b73-a29e-678838cd8acd" providerId="ADAL" clId="{C58DBB88-EC80-4135-8C14-80D2FEEFCB85}" dt="2023-06-27T09:07:51.042" v="57"/>
            <ac:picMkLst>
              <pc:docMk/>
              <pc:sldMasterMk cId="2791372136" sldId="2147483777"/>
              <pc:sldLayoutMk cId="2840415572" sldId="2147483877"/>
              <ac:picMk id="5" creationId="{5C2761A6-C82E-0D12-9305-ACCB32580781}"/>
            </ac:picMkLst>
          </pc:picChg>
          <pc:picChg chg="mod">
            <ac:chgData name="Hans Gelissen (DHL SSC Maastricht)" userId="1afa8510-4eed-4b73-a29e-678838cd8acd" providerId="ADAL" clId="{C58DBB88-EC80-4135-8C14-80D2FEEFCB85}" dt="2023-06-27T09:07:51.042" v="57"/>
            <ac:picMkLst>
              <pc:docMk/>
              <pc:sldMasterMk cId="2791372136" sldId="2147483777"/>
              <pc:sldLayoutMk cId="2840415572" sldId="2147483877"/>
              <ac:picMk id="6" creationId="{D7E38D89-D2FA-75B5-0D6D-A1F90AD98434}"/>
            </ac:picMkLst>
          </pc:picChg>
          <pc:picChg chg="mod">
            <ac:chgData name="Hans Gelissen (DHL SSC Maastricht)" userId="1afa8510-4eed-4b73-a29e-678838cd8acd" providerId="ADAL" clId="{C58DBB88-EC80-4135-8C14-80D2FEEFCB85}" dt="2023-06-27T09:07:51.042" v="57"/>
            <ac:picMkLst>
              <pc:docMk/>
              <pc:sldMasterMk cId="2791372136" sldId="2147483777"/>
              <pc:sldLayoutMk cId="2840415572" sldId="2147483877"/>
              <ac:picMk id="7" creationId="{D696E670-052C-E078-B16B-426E81E5B181}"/>
            </ac:picMkLst>
          </pc:picChg>
        </pc:sldLayoutChg>
        <pc:sldLayoutChg chg="addSp delSp modSp mod">
          <pc:chgData name="Hans Gelissen (DHL SSC Maastricht)" userId="1afa8510-4eed-4b73-a29e-678838cd8acd" providerId="ADAL" clId="{C58DBB88-EC80-4135-8C14-80D2FEEFCB85}" dt="2023-06-27T09:07:51.695" v="58"/>
          <pc:sldLayoutMkLst>
            <pc:docMk/>
            <pc:sldMasterMk cId="2791372136" sldId="2147483777"/>
            <pc:sldLayoutMk cId="2714381034" sldId="2147483878"/>
          </pc:sldLayoutMkLst>
          <pc:spChg chg="mod">
            <ac:chgData name="Hans Gelissen (DHL SSC Maastricht)" userId="1afa8510-4eed-4b73-a29e-678838cd8acd" providerId="ADAL" clId="{C58DBB88-EC80-4135-8C14-80D2FEEFCB85}" dt="2023-06-27T09:07:51.695" v="58"/>
            <ac:spMkLst>
              <pc:docMk/>
              <pc:sldMasterMk cId="2791372136" sldId="2147483777"/>
              <pc:sldLayoutMk cId="2714381034" sldId="2147483878"/>
              <ac:spMk id="4" creationId="{482C7FC7-E036-62B4-8131-50B91E3D6BC7}"/>
            </ac:spMkLst>
          </pc:spChg>
          <pc:grpChg chg="add mod">
            <ac:chgData name="Hans Gelissen (DHL SSC Maastricht)" userId="1afa8510-4eed-4b73-a29e-678838cd8acd" providerId="ADAL" clId="{C58DBB88-EC80-4135-8C14-80D2FEEFCB85}" dt="2023-06-27T09:07:51.695" v="58"/>
            <ac:grpSpMkLst>
              <pc:docMk/>
              <pc:sldMasterMk cId="2791372136" sldId="2147483777"/>
              <pc:sldLayoutMk cId="2714381034" sldId="2147483878"/>
              <ac:grpSpMk id="2" creationId="{DA652C24-EAED-EBE1-9D68-ABD918EF6F55}"/>
            </ac:grpSpMkLst>
          </pc:grpChg>
          <pc:grpChg chg="del">
            <ac:chgData name="Hans Gelissen (DHL SSC Maastricht)" userId="1afa8510-4eed-4b73-a29e-678838cd8acd" providerId="ADAL" clId="{C58DBB88-EC80-4135-8C14-80D2FEEFCB85}" dt="2023-06-27T09:07:38.422" v="47" actId="478"/>
            <ac:grpSpMkLst>
              <pc:docMk/>
              <pc:sldMasterMk cId="2791372136" sldId="2147483777"/>
              <pc:sldLayoutMk cId="2714381034" sldId="2147483878"/>
              <ac:grpSpMk id="65" creationId="{1BDED68A-58CE-477A-8081-6078BF2E6B86}"/>
            </ac:grpSpMkLst>
          </pc:grpChg>
          <pc:picChg chg="mod">
            <ac:chgData name="Hans Gelissen (DHL SSC Maastricht)" userId="1afa8510-4eed-4b73-a29e-678838cd8acd" providerId="ADAL" clId="{C58DBB88-EC80-4135-8C14-80D2FEEFCB85}" dt="2023-06-27T09:07:51.695" v="58"/>
            <ac:picMkLst>
              <pc:docMk/>
              <pc:sldMasterMk cId="2791372136" sldId="2147483777"/>
              <pc:sldLayoutMk cId="2714381034" sldId="2147483878"/>
              <ac:picMk id="5" creationId="{5157A9FA-558C-420A-A312-F7348E06A66C}"/>
            </ac:picMkLst>
          </pc:picChg>
          <pc:picChg chg="mod">
            <ac:chgData name="Hans Gelissen (DHL SSC Maastricht)" userId="1afa8510-4eed-4b73-a29e-678838cd8acd" providerId="ADAL" clId="{C58DBB88-EC80-4135-8C14-80D2FEEFCB85}" dt="2023-06-27T09:07:51.695" v="58"/>
            <ac:picMkLst>
              <pc:docMk/>
              <pc:sldMasterMk cId="2791372136" sldId="2147483777"/>
              <pc:sldLayoutMk cId="2714381034" sldId="2147483878"/>
              <ac:picMk id="6" creationId="{3520B2FD-1040-0236-F8A4-4445882B6F06}"/>
            </ac:picMkLst>
          </pc:picChg>
          <pc:picChg chg="mod">
            <ac:chgData name="Hans Gelissen (DHL SSC Maastricht)" userId="1afa8510-4eed-4b73-a29e-678838cd8acd" providerId="ADAL" clId="{C58DBB88-EC80-4135-8C14-80D2FEEFCB85}" dt="2023-06-27T09:07:51.695" v="58"/>
            <ac:picMkLst>
              <pc:docMk/>
              <pc:sldMasterMk cId="2791372136" sldId="2147483777"/>
              <pc:sldLayoutMk cId="2714381034" sldId="2147483878"/>
              <ac:picMk id="7" creationId="{4AA14D25-990E-DE87-CEC3-22C2D1474668}"/>
            </ac:picMkLst>
          </pc:picChg>
        </pc:sldLayoutChg>
        <pc:sldLayoutChg chg="addSp delSp modSp mod">
          <pc:chgData name="Hans Gelissen (DHL SSC Maastricht)" userId="1afa8510-4eed-4b73-a29e-678838cd8acd" providerId="ADAL" clId="{C58DBB88-EC80-4135-8C14-80D2FEEFCB85}" dt="2023-06-27T09:07:52.481" v="59"/>
          <pc:sldLayoutMkLst>
            <pc:docMk/>
            <pc:sldMasterMk cId="2791372136" sldId="2147483777"/>
            <pc:sldLayoutMk cId="3714924026" sldId="2147483879"/>
          </pc:sldLayoutMkLst>
          <pc:spChg chg="mod">
            <ac:chgData name="Hans Gelissen (DHL SSC Maastricht)" userId="1afa8510-4eed-4b73-a29e-678838cd8acd" providerId="ADAL" clId="{C58DBB88-EC80-4135-8C14-80D2FEEFCB85}" dt="2023-06-27T09:07:52.481" v="59"/>
            <ac:spMkLst>
              <pc:docMk/>
              <pc:sldMasterMk cId="2791372136" sldId="2147483777"/>
              <pc:sldLayoutMk cId="3714924026" sldId="2147483879"/>
              <ac:spMk id="4" creationId="{D70CAFFE-E70C-DAA3-3797-AA0470B52602}"/>
            </ac:spMkLst>
          </pc:spChg>
          <pc:grpChg chg="add mod">
            <ac:chgData name="Hans Gelissen (DHL SSC Maastricht)" userId="1afa8510-4eed-4b73-a29e-678838cd8acd" providerId="ADAL" clId="{C58DBB88-EC80-4135-8C14-80D2FEEFCB85}" dt="2023-06-27T09:07:52.481" v="59"/>
            <ac:grpSpMkLst>
              <pc:docMk/>
              <pc:sldMasterMk cId="2791372136" sldId="2147483777"/>
              <pc:sldLayoutMk cId="3714924026" sldId="2147483879"/>
              <ac:grpSpMk id="2" creationId="{38C2689E-DB31-E365-F9BE-B986286701D8}"/>
            </ac:grpSpMkLst>
          </pc:grpChg>
          <pc:grpChg chg="del">
            <ac:chgData name="Hans Gelissen (DHL SSC Maastricht)" userId="1afa8510-4eed-4b73-a29e-678838cd8acd" providerId="ADAL" clId="{C58DBB88-EC80-4135-8C14-80D2FEEFCB85}" dt="2023-06-27T09:07:37.557" v="46" actId="478"/>
            <ac:grpSpMkLst>
              <pc:docMk/>
              <pc:sldMasterMk cId="2791372136" sldId="2147483777"/>
              <pc:sldLayoutMk cId="3714924026" sldId="2147483879"/>
              <ac:grpSpMk id="65" creationId="{1BDED68A-58CE-477A-8081-6078BF2E6B86}"/>
            </ac:grpSpMkLst>
          </pc:grpChg>
          <pc:picChg chg="mod">
            <ac:chgData name="Hans Gelissen (DHL SSC Maastricht)" userId="1afa8510-4eed-4b73-a29e-678838cd8acd" providerId="ADAL" clId="{C58DBB88-EC80-4135-8C14-80D2FEEFCB85}" dt="2023-06-27T09:07:52.481" v="59"/>
            <ac:picMkLst>
              <pc:docMk/>
              <pc:sldMasterMk cId="2791372136" sldId="2147483777"/>
              <pc:sldLayoutMk cId="3714924026" sldId="2147483879"/>
              <ac:picMk id="5" creationId="{ABADD482-1F56-1D09-5B85-A3CB74852C6E}"/>
            </ac:picMkLst>
          </pc:picChg>
          <pc:picChg chg="mod">
            <ac:chgData name="Hans Gelissen (DHL SSC Maastricht)" userId="1afa8510-4eed-4b73-a29e-678838cd8acd" providerId="ADAL" clId="{C58DBB88-EC80-4135-8C14-80D2FEEFCB85}" dt="2023-06-27T09:07:52.481" v="59"/>
            <ac:picMkLst>
              <pc:docMk/>
              <pc:sldMasterMk cId="2791372136" sldId="2147483777"/>
              <pc:sldLayoutMk cId="3714924026" sldId="2147483879"/>
              <ac:picMk id="6" creationId="{65FA6ECE-F54A-5D05-C5F2-2E28771436EB}"/>
            </ac:picMkLst>
          </pc:picChg>
          <pc:picChg chg="mod">
            <ac:chgData name="Hans Gelissen (DHL SSC Maastricht)" userId="1afa8510-4eed-4b73-a29e-678838cd8acd" providerId="ADAL" clId="{C58DBB88-EC80-4135-8C14-80D2FEEFCB85}" dt="2023-06-27T09:07:52.481" v="59"/>
            <ac:picMkLst>
              <pc:docMk/>
              <pc:sldMasterMk cId="2791372136" sldId="2147483777"/>
              <pc:sldLayoutMk cId="3714924026" sldId="2147483879"/>
              <ac:picMk id="7" creationId="{CC1A7B80-E1AD-23B7-D5E9-6D5EA0CA1ED2}"/>
            </ac:picMkLst>
          </pc:picChg>
        </pc:sldLayoutChg>
        <pc:sldLayoutChg chg="addSp delSp modSp mod">
          <pc:chgData name="Hans Gelissen (DHL SSC Maastricht)" userId="1afa8510-4eed-4b73-a29e-678838cd8acd" providerId="ADAL" clId="{C58DBB88-EC80-4135-8C14-80D2FEEFCB85}" dt="2023-06-27T09:07:53.313" v="60"/>
          <pc:sldLayoutMkLst>
            <pc:docMk/>
            <pc:sldMasterMk cId="2791372136" sldId="2147483777"/>
            <pc:sldLayoutMk cId="3802747284" sldId="2147483880"/>
          </pc:sldLayoutMkLst>
          <pc:spChg chg="mod">
            <ac:chgData name="Hans Gelissen (DHL SSC Maastricht)" userId="1afa8510-4eed-4b73-a29e-678838cd8acd" providerId="ADAL" clId="{C58DBB88-EC80-4135-8C14-80D2FEEFCB85}" dt="2023-06-27T09:07:53.313" v="60"/>
            <ac:spMkLst>
              <pc:docMk/>
              <pc:sldMasterMk cId="2791372136" sldId="2147483777"/>
              <pc:sldLayoutMk cId="3802747284" sldId="2147483880"/>
              <ac:spMk id="4" creationId="{AA90369D-D455-B817-4604-AFE7E925A62B}"/>
            </ac:spMkLst>
          </pc:spChg>
          <pc:grpChg chg="add mod">
            <ac:chgData name="Hans Gelissen (DHL SSC Maastricht)" userId="1afa8510-4eed-4b73-a29e-678838cd8acd" providerId="ADAL" clId="{C58DBB88-EC80-4135-8C14-80D2FEEFCB85}" dt="2023-06-27T09:07:53.313" v="60"/>
            <ac:grpSpMkLst>
              <pc:docMk/>
              <pc:sldMasterMk cId="2791372136" sldId="2147483777"/>
              <pc:sldLayoutMk cId="3802747284" sldId="2147483880"/>
              <ac:grpSpMk id="2" creationId="{70CD417A-0009-2EEE-1ADA-58471E0D96DA}"/>
            </ac:grpSpMkLst>
          </pc:grpChg>
          <pc:grpChg chg="del">
            <ac:chgData name="Hans Gelissen (DHL SSC Maastricht)" userId="1afa8510-4eed-4b73-a29e-678838cd8acd" providerId="ADAL" clId="{C58DBB88-EC80-4135-8C14-80D2FEEFCB85}" dt="2023-06-27T09:07:36.683" v="45" actId="478"/>
            <ac:grpSpMkLst>
              <pc:docMk/>
              <pc:sldMasterMk cId="2791372136" sldId="2147483777"/>
              <pc:sldLayoutMk cId="3802747284" sldId="2147483880"/>
              <ac:grpSpMk id="65" creationId="{1BDED68A-58CE-477A-8081-6078BF2E6B86}"/>
            </ac:grpSpMkLst>
          </pc:grpChg>
          <pc:picChg chg="mod">
            <ac:chgData name="Hans Gelissen (DHL SSC Maastricht)" userId="1afa8510-4eed-4b73-a29e-678838cd8acd" providerId="ADAL" clId="{C58DBB88-EC80-4135-8C14-80D2FEEFCB85}" dt="2023-06-27T09:07:53.313" v="60"/>
            <ac:picMkLst>
              <pc:docMk/>
              <pc:sldMasterMk cId="2791372136" sldId="2147483777"/>
              <pc:sldLayoutMk cId="3802747284" sldId="2147483880"/>
              <ac:picMk id="5" creationId="{074E6E74-08FC-7D3D-5708-63C41D4323DE}"/>
            </ac:picMkLst>
          </pc:picChg>
          <pc:picChg chg="mod">
            <ac:chgData name="Hans Gelissen (DHL SSC Maastricht)" userId="1afa8510-4eed-4b73-a29e-678838cd8acd" providerId="ADAL" clId="{C58DBB88-EC80-4135-8C14-80D2FEEFCB85}" dt="2023-06-27T09:07:53.313" v="60"/>
            <ac:picMkLst>
              <pc:docMk/>
              <pc:sldMasterMk cId="2791372136" sldId="2147483777"/>
              <pc:sldLayoutMk cId="3802747284" sldId="2147483880"/>
              <ac:picMk id="6" creationId="{6DE33CF8-5E07-ACD0-EF6E-27F3DE762090}"/>
            </ac:picMkLst>
          </pc:picChg>
          <pc:picChg chg="mod">
            <ac:chgData name="Hans Gelissen (DHL SSC Maastricht)" userId="1afa8510-4eed-4b73-a29e-678838cd8acd" providerId="ADAL" clId="{C58DBB88-EC80-4135-8C14-80D2FEEFCB85}" dt="2023-06-27T09:07:53.313" v="60"/>
            <ac:picMkLst>
              <pc:docMk/>
              <pc:sldMasterMk cId="2791372136" sldId="2147483777"/>
              <pc:sldLayoutMk cId="3802747284" sldId="2147483880"/>
              <ac:picMk id="7" creationId="{5C3787D9-B271-18E5-85F1-02A1639C83D9}"/>
            </ac:picMkLst>
          </pc:picChg>
        </pc:sldLayoutChg>
        <pc:sldLayoutChg chg="addSp delSp modSp mod">
          <pc:chgData name="Hans Gelissen (DHL SSC Maastricht)" userId="1afa8510-4eed-4b73-a29e-678838cd8acd" providerId="ADAL" clId="{C58DBB88-EC80-4135-8C14-80D2FEEFCB85}" dt="2023-06-27T09:07:55.466" v="61"/>
          <pc:sldLayoutMkLst>
            <pc:docMk/>
            <pc:sldMasterMk cId="2791372136" sldId="2147483777"/>
            <pc:sldLayoutMk cId="3314331250" sldId="2147483937"/>
          </pc:sldLayoutMkLst>
          <pc:spChg chg="mod">
            <ac:chgData name="Hans Gelissen (DHL SSC Maastricht)" userId="1afa8510-4eed-4b73-a29e-678838cd8acd" providerId="ADAL" clId="{C58DBB88-EC80-4135-8C14-80D2FEEFCB85}" dt="2023-06-27T09:07:55.466" v="61"/>
            <ac:spMkLst>
              <pc:docMk/>
              <pc:sldMasterMk cId="2791372136" sldId="2147483777"/>
              <pc:sldLayoutMk cId="3314331250" sldId="2147483937"/>
              <ac:spMk id="4" creationId="{4A8FDEA3-1DAF-A998-FD6E-11AF1AC5C38A}"/>
            </ac:spMkLst>
          </pc:spChg>
          <pc:grpChg chg="add mod">
            <ac:chgData name="Hans Gelissen (DHL SSC Maastricht)" userId="1afa8510-4eed-4b73-a29e-678838cd8acd" providerId="ADAL" clId="{C58DBB88-EC80-4135-8C14-80D2FEEFCB85}" dt="2023-06-27T09:07:55.466" v="61"/>
            <ac:grpSpMkLst>
              <pc:docMk/>
              <pc:sldMasterMk cId="2791372136" sldId="2147483777"/>
              <pc:sldLayoutMk cId="3314331250" sldId="2147483937"/>
              <ac:grpSpMk id="2" creationId="{DA01B7E1-35C3-26D1-1D38-0CC094736FBF}"/>
            </ac:grpSpMkLst>
          </pc:grpChg>
          <pc:grpChg chg="del">
            <ac:chgData name="Hans Gelissen (DHL SSC Maastricht)" userId="1afa8510-4eed-4b73-a29e-678838cd8acd" providerId="ADAL" clId="{C58DBB88-EC80-4135-8C14-80D2FEEFCB85}" dt="2023-06-27T09:07:35.838" v="44" actId="478"/>
            <ac:grpSpMkLst>
              <pc:docMk/>
              <pc:sldMasterMk cId="2791372136" sldId="2147483777"/>
              <pc:sldLayoutMk cId="3314331250" sldId="2147483937"/>
              <ac:grpSpMk id="65" creationId="{1BDED68A-58CE-477A-8081-6078BF2E6B86}"/>
            </ac:grpSpMkLst>
          </pc:grpChg>
          <pc:picChg chg="mod">
            <ac:chgData name="Hans Gelissen (DHL SSC Maastricht)" userId="1afa8510-4eed-4b73-a29e-678838cd8acd" providerId="ADAL" clId="{C58DBB88-EC80-4135-8C14-80D2FEEFCB85}" dt="2023-06-27T09:07:55.466" v="61"/>
            <ac:picMkLst>
              <pc:docMk/>
              <pc:sldMasterMk cId="2791372136" sldId="2147483777"/>
              <pc:sldLayoutMk cId="3314331250" sldId="2147483937"/>
              <ac:picMk id="5" creationId="{422CD248-396C-4E5D-2EC0-00CF958F1D4D}"/>
            </ac:picMkLst>
          </pc:picChg>
          <pc:picChg chg="mod">
            <ac:chgData name="Hans Gelissen (DHL SSC Maastricht)" userId="1afa8510-4eed-4b73-a29e-678838cd8acd" providerId="ADAL" clId="{C58DBB88-EC80-4135-8C14-80D2FEEFCB85}" dt="2023-06-27T09:07:55.466" v="61"/>
            <ac:picMkLst>
              <pc:docMk/>
              <pc:sldMasterMk cId="2791372136" sldId="2147483777"/>
              <pc:sldLayoutMk cId="3314331250" sldId="2147483937"/>
              <ac:picMk id="6" creationId="{03E12A99-4D9F-F515-A4F8-8817952BAB2A}"/>
            </ac:picMkLst>
          </pc:picChg>
          <pc:picChg chg="mod">
            <ac:chgData name="Hans Gelissen (DHL SSC Maastricht)" userId="1afa8510-4eed-4b73-a29e-678838cd8acd" providerId="ADAL" clId="{C58DBB88-EC80-4135-8C14-80D2FEEFCB85}" dt="2023-06-27T09:07:55.466" v="61"/>
            <ac:picMkLst>
              <pc:docMk/>
              <pc:sldMasterMk cId="2791372136" sldId="2147483777"/>
              <pc:sldLayoutMk cId="3314331250" sldId="2147483937"/>
              <ac:picMk id="7" creationId="{AE6C7E01-A5AE-EB2E-9049-44C26E729D25}"/>
            </ac:picMkLst>
          </pc:picChg>
        </pc:sldLayoutChg>
        <pc:sldLayoutChg chg="addSp delSp modSp mod">
          <pc:chgData name="Hans Gelissen (DHL SSC Maastricht)" userId="1afa8510-4eed-4b73-a29e-678838cd8acd" providerId="ADAL" clId="{C58DBB88-EC80-4135-8C14-80D2FEEFCB85}" dt="2023-06-27T09:07:56.348" v="62"/>
          <pc:sldLayoutMkLst>
            <pc:docMk/>
            <pc:sldMasterMk cId="2791372136" sldId="2147483777"/>
            <pc:sldLayoutMk cId="2580627656" sldId="2147483938"/>
          </pc:sldLayoutMkLst>
          <pc:spChg chg="mod">
            <ac:chgData name="Hans Gelissen (DHL SSC Maastricht)" userId="1afa8510-4eed-4b73-a29e-678838cd8acd" providerId="ADAL" clId="{C58DBB88-EC80-4135-8C14-80D2FEEFCB85}" dt="2023-06-27T09:07:56.348" v="62"/>
            <ac:spMkLst>
              <pc:docMk/>
              <pc:sldMasterMk cId="2791372136" sldId="2147483777"/>
              <pc:sldLayoutMk cId="2580627656" sldId="2147483938"/>
              <ac:spMk id="4" creationId="{ADB944D3-BBED-8A94-B6B0-CA04078B6E5D}"/>
            </ac:spMkLst>
          </pc:spChg>
          <pc:grpChg chg="add mod">
            <ac:chgData name="Hans Gelissen (DHL SSC Maastricht)" userId="1afa8510-4eed-4b73-a29e-678838cd8acd" providerId="ADAL" clId="{C58DBB88-EC80-4135-8C14-80D2FEEFCB85}" dt="2023-06-27T09:07:56.348" v="62"/>
            <ac:grpSpMkLst>
              <pc:docMk/>
              <pc:sldMasterMk cId="2791372136" sldId="2147483777"/>
              <pc:sldLayoutMk cId="2580627656" sldId="2147483938"/>
              <ac:grpSpMk id="2" creationId="{B48F8CF1-A005-A1F4-565C-17428D9DF454}"/>
            </ac:grpSpMkLst>
          </pc:grpChg>
          <pc:grpChg chg="del">
            <ac:chgData name="Hans Gelissen (DHL SSC Maastricht)" userId="1afa8510-4eed-4b73-a29e-678838cd8acd" providerId="ADAL" clId="{C58DBB88-EC80-4135-8C14-80D2FEEFCB85}" dt="2023-06-27T09:07:34.910" v="43" actId="478"/>
            <ac:grpSpMkLst>
              <pc:docMk/>
              <pc:sldMasterMk cId="2791372136" sldId="2147483777"/>
              <pc:sldLayoutMk cId="2580627656" sldId="2147483938"/>
              <ac:grpSpMk id="65" creationId="{1BDED68A-58CE-477A-8081-6078BF2E6B86}"/>
            </ac:grpSpMkLst>
          </pc:grpChg>
          <pc:picChg chg="mod">
            <ac:chgData name="Hans Gelissen (DHL SSC Maastricht)" userId="1afa8510-4eed-4b73-a29e-678838cd8acd" providerId="ADAL" clId="{C58DBB88-EC80-4135-8C14-80D2FEEFCB85}" dt="2023-06-27T09:07:56.348" v="62"/>
            <ac:picMkLst>
              <pc:docMk/>
              <pc:sldMasterMk cId="2791372136" sldId="2147483777"/>
              <pc:sldLayoutMk cId="2580627656" sldId="2147483938"/>
              <ac:picMk id="5" creationId="{D41E1C0A-639E-C4E8-5B7C-39AD2F95C799}"/>
            </ac:picMkLst>
          </pc:picChg>
          <pc:picChg chg="mod">
            <ac:chgData name="Hans Gelissen (DHL SSC Maastricht)" userId="1afa8510-4eed-4b73-a29e-678838cd8acd" providerId="ADAL" clId="{C58DBB88-EC80-4135-8C14-80D2FEEFCB85}" dt="2023-06-27T09:07:56.348" v="62"/>
            <ac:picMkLst>
              <pc:docMk/>
              <pc:sldMasterMk cId="2791372136" sldId="2147483777"/>
              <pc:sldLayoutMk cId="2580627656" sldId="2147483938"/>
              <ac:picMk id="6" creationId="{DC0784DC-F93E-5400-5000-747EC66FADDC}"/>
            </ac:picMkLst>
          </pc:picChg>
          <pc:picChg chg="mod">
            <ac:chgData name="Hans Gelissen (DHL SSC Maastricht)" userId="1afa8510-4eed-4b73-a29e-678838cd8acd" providerId="ADAL" clId="{C58DBB88-EC80-4135-8C14-80D2FEEFCB85}" dt="2023-06-27T09:07:56.348" v="62"/>
            <ac:picMkLst>
              <pc:docMk/>
              <pc:sldMasterMk cId="2791372136" sldId="2147483777"/>
              <pc:sldLayoutMk cId="2580627656" sldId="2147483938"/>
              <ac:picMk id="7" creationId="{CB57949E-4958-F643-95B4-64C62A873B6A}"/>
            </ac:picMkLst>
          </pc:picChg>
        </pc:sldLayoutChg>
        <pc:sldLayoutChg chg="addSp delSp modSp mod">
          <pc:chgData name="Hans Gelissen (DHL SSC Maastricht)" userId="1afa8510-4eed-4b73-a29e-678838cd8acd" providerId="ADAL" clId="{C58DBB88-EC80-4135-8C14-80D2FEEFCB85}" dt="2023-06-27T09:07:57.050" v="63"/>
          <pc:sldLayoutMkLst>
            <pc:docMk/>
            <pc:sldMasterMk cId="2791372136" sldId="2147483777"/>
            <pc:sldLayoutMk cId="3319069032" sldId="2147483939"/>
          </pc:sldLayoutMkLst>
          <pc:spChg chg="mod">
            <ac:chgData name="Hans Gelissen (DHL SSC Maastricht)" userId="1afa8510-4eed-4b73-a29e-678838cd8acd" providerId="ADAL" clId="{C58DBB88-EC80-4135-8C14-80D2FEEFCB85}" dt="2023-06-27T09:07:57.050" v="63"/>
            <ac:spMkLst>
              <pc:docMk/>
              <pc:sldMasterMk cId="2791372136" sldId="2147483777"/>
              <pc:sldLayoutMk cId="3319069032" sldId="2147483939"/>
              <ac:spMk id="4" creationId="{AA39506E-BFAB-475E-7F65-8064FC43E604}"/>
            </ac:spMkLst>
          </pc:spChg>
          <pc:grpChg chg="add mod">
            <ac:chgData name="Hans Gelissen (DHL SSC Maastricht)" userId="1afa8510-4eed-4b73-a29e-678838cd8acd" providerId="ADAL" clId="{C58DBB88-EC80-4135-8C14-80D2FEEFCB85}" dt="2023-06-27T09:07:57.050" v="63"/>
            <ac:grpSpMkLst>
              <pc:docMk/>
              <pc:sldMasterMk cId="2791372136" sldId="2147483777"/>
              <pc:sldLayoutMk cId="3319069032" sldId="2147483939"/>
              <ac:grpSpMk id="2" creationId="{7C854E6B-B80E-A1CA-8674-2C7003EDBA74}"/>
            </ac:grpSpMkLst>
          </pc:grpChg>
          <pc:grpChg chg="del">
            <ac:chgData name="Hans Gelissen (DHL SSC Maastricht)" userId="1afa8510-4eed-4b73-a29e-678838cd8acd" providerId="ADAL" clId="{C58DBB88-EC80-4135-8C14-80D2FEEFCB85}" dt="2023-06-27T09:07:33.893" v="42" actId="478"/>
            <ac:grpSpMkLst>
              <pc:docMk/>
              <pc:sldMasterMk cId="2791372136" sldId="2147483777"/>
              <pc:sldLayoutMk cId="3319069032" sldId="2147483939"/>
              <ac:grpSpMk id="65" creationId="{1BDED68A-58CE-477A-8081-6078BF2E6B86}"/>
            </ac:grpSpMkLst>
          </pc:grpChg>
          <pc:picChg chg="mod">
            <ac:chgData name="Hans Gelissen (DHL SSC Maastricht)" userId="1afa8510-4eed-4b73-a29e-678838cd8acd" providerId="ADAL" clId="{C58DBB88-EC80-4135-8C14-80D2FEEFCB85}" dt="2023-06-27T09:07:57.050" v="63"/>
            <ac:picMkLst>
              <pc:docMk/>
              <pc:sldMasterMk cId="2791372136" sldId="2147483777"/>
              <pc:sldLayoutMk cId="3319069032" sldId="2147483939"/>
              <ac:picMk id="5" creationId="{6D1D53B7-8929-B74D-A3E6-148C9BBFE9CE}"/>
            </ac:picMkLst>
          </pc:picChg>
          <pc:picChg chg="mod">
            <ac:chgData name="Hans Gelissen (DHL SSC Maastricht)" userId="1afa8510-4eed-4b73-a29e-678838cd8acd" providerId="ADAL" clId="{C58DBB88-EC80-4135-8C14-80D2FEEFCB85}" dt="2023-06-27T09:07:57.050" v="63"/>
            <ac:picMkLst>
              <pc:docMk/>
              <pc:sldMasterMk cId="2791372136" sldId="2147483777"/>
              <pc:sldLayoutMk cId="3319069032" sldId="2147483939"/>
              <ac:picMk id="6" creationId="{C452800D-1AD5-2B75-F831-B8C4CB1A5C0A}"/>
            </ac:picMkLst>
          </pc:picChg>
          <pc:picChg chg="mod">
            <ac:chgData name="Hans Gelissen (DHL SSC Maastricht)" userId="1afa8510-4eed-4b73-a29e-678838cd8acd" providerId="ADAL" clId="{C58DBB88-EC80-4135-8C14-80D2FEEFCB85}" dt="2023-06-27T09:07:57.050" v="63"/>
            <ac:picMkLst>
              <pc:docMk/>
              <pc:sldMasterMk cId="2791372136" sldId="2147483777"/>
              <pc:sldLayoutMk cId="3319069032" sldId="2147483939"/>
              <ac:picMk id="7" creationId="{4404732B-2FC7-CE81-425C-A8E7A18B7687}"/>
            </ac:picMkLst>
          </pc:picChg>
        </pc:sldLayoutChg>
        <pc:sldLayoutChg chg="addSp delSp modSp mod">
          <pc:chgData name="Hans Gelissen (DHL SSC Maastricht)" userId="1afa8510-4eed-4b73-a29e-678838cd8acd" providerId="ADAL" clId="{C58DBB88-EC80-4135-8C14-80D2FEEFCB85}" dt="2023-06-27T09:07:57.834" v="64"/>
          <pc:sldLayoutMkLst>
            <pc:docMk/>
            <pc:sldMasterMk cId="2791372136" sldId="2147483777"/>
            <pc:sldLayoutMk cId="3530943272" sldId="2147483940"/>
          </pc:sldLayoutMkLst>
          <pc:spChg chg="mod">
            <ac:chgData name="Hans Gelissen (DHL SSC Maastricht)" userId="1afa8510-4eed-4b73-a29e-678838cd8acd" providerId="ADAL" clId="{C58DBB88-EC80-4135-8C14-80D2FEEFCB85}" dt="2023-06-27T09:07:57.834" v="64"/>
            <ac:spMkLst>
              <pc:docMk/>
              <pc:sldMasterMk cId="2791372136" sldId="2147483777"/>
              <pc:sldLayoutMk cId="3530943272" sldId="2147483940"/>
              <ac:spMk id="4" creationId="{48B3E6CC-E433-AFD8-8FEC-C2F98EAFD8CA}"/>
            </ac:spMkLst>
          </pc:spChg>
          <pc:grpChg chg="add mod">
            <ac:chgData name="Hans Gelissen (DHL SSC Maastricht)" userId="1afa8510-4eed-4b73-a29e-678838cd8acd" providerId="ADAL" clId="{C58DBB88-EC80-4135-8C14-80D2FEEFCB85}" dt="2023-06-27T09:07:57.834" v="64"/>
            <ac:grpSpMkLst>
              <pc:docMk/>
              <pc:sldMasterMk cId="2791372136" sldId="2147483777"/>
              <pc:sldLayoutMk cId="3530943272" sldId="2147483940"/>
              <ac:grpSpMk id="2" creationId="{D7C61399-1115-D882-FEF6-5C12A4F48F10}"/>
            </ac:grpSpMkLst>
          </pc:grpChg>
          <pc:grpChg chg="del">
            <ac:chgData name="Hans Gelissen (DHL SSC Maastricht)" userId="1afa8510-4eed-4b73-a29e-678838cd8acd" providerId="ADAL" clId="{C58DBB88-EC80-4135-8C14-80D2FEEFCB85}" dt="2023-06-27T09:07:32.998" v="41" actId="478"/>
            <ac:grpSpMkLst>
              <pc:docMk/>
              <pc:sldMasterMk cId="2791372136" sldId="2147483777"/>
              <pc:sldLayoutMk cId="3530943272" sldId="2147483940"/>
              <ac:grpSpMk id="65" creationId="{1BDED68A-58CE-477A-8081-6078BF2E6B86}"/>
            </ac:grpSpMkLst>
          </pc:grpChg>
          <pc:picChg chg="mod">
            <ac:chgData name="Hans Gelissen (DHL SSC Maastricht)" userId="1afa8510-4eed-4b73-a29e-678838cd8acd" providerId="ADAL" clId="{C58DBB88-EC80-4135-8C14-80D2FEEFCB85}" dt="2023-06-27T09:07:57.834" v="64"/>
            <ac:picMkLst>
              <pc:docMk/>
              <pc:sldMasterMk cId="2791372136" sldId="2147483777"/>
              <pc:sldLayoutMk cId="3530943272" sldId="2147483940"/>
              <ac:picMk id="5" creationId="{7C261FBD-9BDF-3417-9570-1D7416E811F3}"/>
            </ac:picMkLst>
          </pc:picChg>
          <pc:picChg chg="mod">
            <ac:chgData name="Hans Gelissen (DHL SSC Maastricht)" userId="1afa8510-4eed-4b73-a29e-678838cd8acd" providerId="ADAL" clId="{C58DBB88-EC80-4135-8C14-80D2FEEFCB85}" dt="2023-06-27T09:07:57.834" v="64"/>
            <ac:picMkLst>
              <pc:docMk/>
              <pc:sldMasterMk cId="2791372136" sldId="2147483777"/>
              <pc:sldLayoutMk cId="3530943272" sldId="2147483940"/>
              <ac:picMk id="6" creationId="{5EE01E7D-08ED-D1BF-2F7C-F92196C9BD1E}"/>
            </ac:picMkLst>
          </pc:picChg>
          <pc:picChg chg="mod">
            <ac:chgData name="Hans Gelissen (DHL SSC Maastricht)" userId="1afa8510-4eed-4b73-a29e-678838cd8acd" providerId="ADAL" clId="{C58DBB88-EC80-4135-8C14-80D2FEEFCB85}" dt="2023-06-27T09:07:57.834" v="64"/>
            <ac:picMkLst>
              <pc:docMk/>
              <pc:sldMasterMk cId="2791372136" sldId="2147483777"/>
              <pc:sldLayoutMk cId="3530943272" sldId="2147483940"/>
              <ac:picMk id="7" creationId="{8270B59F-F23D-076A-C867-D2AD97CA1269}"/>
            </ac:picMkLst>
          </pc:picChg>
        </pc:sldLayoutChg>
        <pc:sldLayoutChg chg="addSp delSp modSp mod">
          <pc:chgData name="Hans Gelissen (DHL SSC Maastricht)" userId="1afa8510-4eed-4b73-a29e-678838cd8acd" providerId="ADAL" clId="{C58DBB88-EC80-4135-8C14-80D2FEEFCB85}" dt="2023-06-27T09:07:59.685" v="65"/>
          <pc:sldLayoutMkLst>
            <pc:docMk/>
            <pc:sldMasterMk cId="2791372136" sldId="2147483777"/>
            <pc:sldLayoutMk cId="1109663919" sldId="2147483941"/>
          </pc:sldLayoutMkLst>
          <pc:spChg chg="mod">
            <ac:chgData name="Hans Gelissen (DHL SSC Maastricht)" userId="1afa8510-4eed-4b73-a29e-678838cd8acd" providerId="ADAL" clId="{C58DBB88-EC80-4135-8C14-80D2FEEFCB85}" dt="2023-06-27T09:07:59.685" v="65"/>
            <ac:spMkLst>
              <pc:docMk/>
              <pc:sldMasterMk cId="2791372136" sldId="2147483777"/>
              <pc:sldLayoutMk cId="1109663919" sldId="2147483941"/>
              <ac:spMk id="4" creationId="{73A61DA0-A7E4-CCFF-6732-C2ED9C88534B}"/>
            </ac:spMkLst>
          </pc:spChg>
          <pc:grpChg chg="add mod">
            <ac:chgData name="Hans Gelissen (DHL SSC Maastricht)" userId="1afa8510-4eed-4b73-a29e-678838cd8acd" providerId="ADAL" clId="{C58DBB88-EC80-4135-8C14-80D2FEEFCB85}" dt="2023-06-27T09:07:59.685" v="65"/>
            <ac:grpSpMkLst>
              <pc:docMk/>
              <pc:sldMasterMk cId="2791372136" sldId="2147483777"/>
              <pc:sldLayoutMk cId="1109663919" sldId="2147483941"/>
              <ac:grpSpMk id="2" creationId="{1A59FB4F-C7EF-501F-4B20-9930E78C9C44}"/>
            </ac:grpSpMkLst>
          </pc:grpChg>
          <pc:grpChg chg="del">
            <ac:chgData name="Hans Gelissen (DHL SSC Maastricht)" userId="1afa8510-4eed-4b73-a29e-678838cd8acd" providerId="ADAL" clId="{C58DBB88-EC80-4135-8C14-80D2FEEFCB85}" dt="2023-06-27T09:07:32.106" v="40" actId="478"/>
            <ac:grpSpMkLst>
              <pc:docMk/>
              <pc:sldMasterMk cId="2791372136" sldId="2147483777"/>
              <pc:sldLayoutMk cId="1109663919" sldId="2147483941"/>
              <ac:grpSpMk id="65" creationId="{1BDED68A-58CE-477A-8081-6078BF2E6B86}"/>
            </ac:grpSpMkLst>
          </pc:grpChg>
          <pc:picChg chg="mod">
            <ac:chgData name="Hans Gelissen (DHL SSC Maastricht)" userId="1afa8510-4eed-4b73-a29e-678838cd8acd" providerId="ADAL" clId="{C58DBB88-EC80-4135-8C14-80D2FEEFCB85}" dt="2023-06-27T09:07:59.685" v="65"/>
            <ac:picMkLst>
              <pc:docMk/>
              <pc:sldMasterMk cId="2791372136" sldId="2147483777"/>
              <pc:sldLayoutMk cId="1109663919" sldId="2147483941"/>
              <ac:picMk id="5" creationId="{37095584-F96C-C5A7-516F-1B2837303271}"/>
            </ac:picMkLst>
          </pc:picChg>
          <pc:picChg chg="mod">
            <ac:chgData name="Hans Gelissen (DHL SSC Maastricht)" userId="1afa8510-4eed-4b73-a29e-678838cd8acd" providerId="ADAL" clId="{C58DBB88-EC80-4135-8C14-80D2FEEFCB85}" dt="2023-06-27T09:07:59.685" v="65"/>
            <ac:picMkLst>
              <pc:docMk/>
              <pc:sldMasterMk cId="2791372136" sldId="2147483777"/>
              <pc:sldLayoutMk cId="1109663919" sldId="2147483941"/>
              <ac:picMk id="6" creationId="{A43C9ADC-96A5-3BE2-03CB-80FF7D637229}"/>
            </ac:picMkLst>
          </pc:picChg>
          <pc:picChg chg="mod">
            <ac:chgData name="Hans Gelissen (DHL SSC Maastricht)" userId="1afa8510-4eed-4b73-a29e-678838cd8acd" providerId="ADAL" clId="{C58DBB88-EC80-4135-8C14-80D2FEEFCB85}" dt="2023-06-27T09:07:59.685" v="65"/>
            <ac:picMkLst>
              <pc:docMk/>
              <pc:sldMasterMk cId="2791372136" sldId="2147483777"/>
              <pc:sldLayoutMk cId="1109663919" sldId="2147483941"/>
              <ac:picMk id="7" creationId="{4A78285D-9954-BC9C-9DE1-737A4EB61E4B}"/>
            </ac:picMkLst>
          </pc:picChg>
        </pc:sldLayoutChg>
        <pc:sldLayoutChg chg="addSp delSp modSp mod">
          <pc:chgData name="Hans Gelissen (DHL SSC Maastricht)" userId="1afa8510-4eed-4b73-a29e-678838cd8acd" providerId="ADAL" clId="{C58DBB88-EC80-4135-8C14-80D2FEEFCB85}" dt="2023-06-27T09:08:00.338" v="66"/>
          <pc:sldLayoutMkLst>
            <pc:docMk/>
            <pc:sldMasterMk cId="2791372136" sldId="2147483777"/>
            <pc:sldLayoutMk cId="2984325781" sldId="2147483977"/>
          </pc:sldLayoutMkLst>
          <pc:spChg chg="mod">
            <ac:chgData name="Hans Gelissen (DHL SSC Maastricht)" userId="1afa8510-4eed-4b73-a29e-678838cd8acd" providerId="ADAL" clId="{C58DBB88-EC80-4135-8C14-80D2FEEFCB85}" dt="2023-06-27T09:08:00.338" v="66"/>
            <ac:spMkLst>
              <pc:docMk/>
              <pc:sldMasterMk cId="2791372136" sldId="2147483777"/>
              <pc:sldLayoutMk cId="2984325781" sldId="2147483977"/>
              <ac:spMk id="4" creationId="{E952B635-C469-01FD-ED72-20B22EBB9562}"/>
            </ac:spMkLst>
          </pc:spChg>
          <pc:grpChg chg="add mod">
            <ac:chgData name="Hans Gelissen (DHL SSC Maastricht)" userId="1afa8510-4eed-4b73-a29e-678838cd8acd" providerId="ADAL" clId="{C58DBB88-EC80-4135-8C14-80D2FEEFCB85}" dt="2023-06-27T09:08:00.338" v="66"/>
            <ac:grpSpMkLst>
              <pc:docMk/>
              <pc:sldMasterMk cId="2791372136" sldId="2147483777"/>
              <pc:sldLayoutMk cId="2984325781" sldId="2147483977"/>
              <ac:grpSpMk id="2" creationId="{1CA555E5-19C0-EFCF-9AC1-B57D615F9466}"/>
            </ac:grpSpMkLst>
          </pc:grpChg>
          <pc:grpChg chg="del">
            <ac:chgData name="Hans Gelissen (DHL SSC Maastricht)" userId="1afa8510-4eed-4b73-a29e-678838cd8acd" providerId="ADAL" clId="{C58DBB88-EC80-4135-8C14-80D2FEEFCB85}" dt="2023-06-27T09:07:31.240" v="39" actId="478"/>
            <ac:grpSpMkLst>
              <pc:docMk/>
              <pc:sldMasterMk cId="2791372136" sldId="2147483777"/>
              <pc:sldLayoutMk cId="2984325781" sldId="2147483977"/>
              <ac:grpSpMk id="65" creationId="{1BDED68A-58CE-477A-8081-6078BF2E6B86}"/>
            </ac:grpSpMkLst>
          </pc:grpChg>
          <pc:picChg chg="mod">
            <ac:chgData name="Hans Gelissen (DHL SSC Maastricht)" userId="1afa8510-4eed-4b73-a29e-678838cd8acd" providerId="ADAL" clId="{C58DBB88-EC80-4135-8C14-80D2FEEFCB85}" dt="2023-06-27T09:08:00.338" v="66"/>
            <ac:picMkLst>
              <pc:docMk/>
              <pc:sldMasterMk cId="2791372136" sldId="2147483777"/>
              <pc:sldLayoutMk cId="2984325781" sldId="2147483977"/>
              <ac:picMk id="5" creationId="{31152B8C-CDD3-F8A7-A7A4-C98782975766}"/>
            </ac:picMkLst>
          </pc:picChg>
          <pc:picChg chg="mod">
            <ac:chgData name="Hans Gelissen (DHL SSC Maastricht)" userId="1afa8510-4eed-4b73-a29e-678838cd8acd" providerId="ADAL" clId="{C58DBB88-EC80-4135-8C14-80D2FEEFCB85}" dt="2023-06-27T09:08:00.338" v="66"/>
            <ac:picMkLst>
              <pc:docMk/>
              <pc:sldMasterMk cId="2791372136" sldId="2147483777"/>
              <pc:sldLayoutMk cId="2984325781" sldId="2147483977"/>
              <ac:picMk id="6" creationId="{2092BEBB-21F5-12E5-9A4E-E028D828F0A0}"/>
            </ac:picMkLst>
          </pc:picChg>
          <pc:picChg chg="mod">
            <ac:chgData name="Hans Gelissen (DHL SSC Maastricht)" userId="1afa8510-4eed-4b73-a29e-678838cd8acd" providerId="ADAL" clId="{C58DBB88-EC80-4135-8C14-80D2FEEFCB85}" dt="2023-06-27T09:08:00.338" v="66"/>
            <ac:picMkLst>
              <pc:docMk/>
              <pc:sldMasterMk cId="2791372136" sldId="2147483777"/>
              <pc:sldLayoutMk cId="2984325781" sldId="2147483977"/>
              <ac:picMk id="7" creationId="{F320C5F9-A5C8-CB3F-E068-4737E06AB140}"/>
            </ac:picMkLst>
          </pc:picChg>
        </pc:sldLayoutChg>
        <pc:sldLayoutChg chg="addSp delSp modSp mod">
          <pc:chgData name="Hans Gelissen (DHL SSC Maastricht)" userId="1afa8510-4eed-4b73-a29e-678838cd8acd" providerId="ADAL" clId="{C58DBB88-EC80-4135-8C14-80D2FEEFCB85}" dt="2023-06-27T09:08:01.085" v="67"/>
          <pc:sldLayoutMkLst>
            <pc:docMk/>
            <pc:sldMasterMk cId="2791372136" sldId="2147483777"/>
            <pc:sldLayoutMk cId="1810193577" sldId="2147483978"/>
          </pc:sldLayoutMkLst>
          <pc:spChg chg="mod">
            <ac:chgData name="Hans Gelissen (DHL SSC Maastricht)" userId="1afa8510-4eed-4b73-a29e-678838cd8acd" providerId="ADAL" clId="{C58DBB88-EC80-4135-8C14-80D2FEEFCB85}" dt="2023-06-27T09:08:01.085" v="67"/>
            <ac:spMkLst>
              <pc:docMk/>
              <pc:sldMasterMk cId="2791372136" sldId="2147483777"/>
              <pc:sldLayoutMk cId="1810193577" sldId="2147483978"/>
              <ac:spMk id="4" creationId="{EBFE0685-AB73-8339-6AC9-806A3E769D36}"/>
            </ac:spMkLst>
          </pc:spChg>
          <pc:grpChg chg="add mod">
            <ac:chgData name="Hans Gelissen (DHL SSC Maastricht)" userId="1afa8510-4eed-4b73-a29e-678838cd8acd" providerId="ADAL" clId="{C58DBB88-EC80-4135-8C14-80D2FEEFCB85}" dt="2023-06-27T09:08:01.085" v="67"/>
            <ac:grpSpMkLst>
              <pc:docMk/>
              <pc:sldMasterMk cId="2791372136" sldId="2147483777"/>
              <pc:sldLayoutMk cId="1810193577" sldId="2147483978"/>
              <ac:grpSpMk id="2" creationId="{D791550C-641B-D8FC-A9D2-4C79E3F902D6}"/>
            </ac:grpSpMkLst>
          </pc:grpChg>
          <pc:grpChg chg="del">
            <ac:chgData name="Hans Gelissen (DHL SSC Maastricht)" userId="1afa8510-4eed-4b73-a29e-678838cd8acd" providerId="ADAL" clId="{C58DBB88-EC80-4135-8C14-80D2FEEFCB85}" dt="2023-06-27T09:07:30.274" v="38" actId="478"/>
            <ac:grpSpMkLst>
              <pc:docMk/>
              <pc:sldMasterMk cId="2791372136" sldId="2147483777"/>
              <pc:sldLayoutMk cId="1810193577" sldId="2147483978"/>
              <ac:grpSpMk id="65" creationId="{1BDED68A-58CE-477A-8081-6078BF2E6B86}"/>
            </ac:grpSpMkLst>
          </pc:grpChg>
          <pc:picChg chg="mod">
            <ac:chgData name="Hans Gelissen (DHL SSC Maastricht)" userId="1afa8510-4eed-4b73-a29e-678838cd8acd" providerId="ADAL" clId="{C58DBB88-EC80-4135-8C14-80D2FEEFCB85}" dt="2023-06-27T09:08:01.085" v="67"/>
            <ac:picMkLst>
              <pc:docMk/>
              <pc:sldMasterMk cId="2791372136" sldId="2147483777"/>
              <pc:sldLayoutMk cId="1810193577" sldId="2147483978"/>
              <ac:picMk id="5" creationId="{A0F3FF26-8896-115C-5ED6-3174A03DFAA9}"/>
            </ac:picMkLst>
          </pc:picChg>
          <pc:picChg chg="mod">
            <ac:chgData name="Hans Gelissen (DHL SSC Maastricht)" userId="1afa8510-4eed-4b73-a29e-678838cd8acd" providerId="ADAL" clId="{C58DBB88-EC80-4135-8C14-80D2FEEFCB85}" dt="2023-06-27T09:08:01.085" v="67"/>
            <ac:picMkLst>
              <pc:docMk/>
              <pc:sldMasterMk cId="2791372136" sldId="2147483777"/>
              <pc:sldLayoutMk cId="1810193577" sldId="2147483978"/>
              <ac:picMk id="6" creationId="{9434D845-2063-63CE-0A42-97C31C21CA79}"/>
            </ac:picMkLst>
          </pc:picChg>
          <pc:picChg chg="mod">
            <ac:chgData name="Hans Gelissen (DHL SSC Maastricht)" userId="1afa8510-4eed-4b73-a29e-678838cd8acd" providerId="ADAL" clId="{C58DBB88-EC80-4135-8C14-80D2FEEFCB85}" dt="2023-06-27T09:08:01.085" v="67"/>
            <ac:picMkLst>
              <pc:docMk/>
              <pc:sldMasterMk cId="2791372136" sldId="2147483777"/>
              <pc:sldLayoutMk cId="1810193577" sldId="2147483978"/>
              <ac:picMk id="7" creationId="{BCC90E82-92E8-F48A-46B0-1D5CA17F1216}"/>
            </ac:picMkLst>
          </pc:picChg>
        </pc:sldLayoutChg>
        <pc:sldLayoutChg chg="addSp delSp modSp mod">
          <pc:chgData name="Hans Gelissen (DHL SSC Maastricht)" userId="1afa8510-4eed-4b73-a29e-678838cd8acd" providerId="ADAL" clId="{C58DBB88-EC80-4135-8C14-80D2FEEFCB85}" dt="2023-06-27T09:08:01.536" v="68"/>
          <pc:sldLayoutMkLst>
            <pc:docMk/>
            <pc:sldMasterMk cId="2791372136" sldId="2147483777"/>
            <pc:sldLayoutMk cId="3829185410" sldId="2147483979"/>
          </pc:sldLayoutMkLst>
          <pc:spChg chg="mod">
            <ac:chgData name="Hans Gelissen (DHL SSC Maastricht)" userId="1afa8510-4eed-4b73-a29e-678838cd8acd" providerId="ADAL" clId="{C58DBB88-EC80-4135-8C14-80D2FEEFCB85}" dt="2023-06-27T09:08:01.536" v="68"/>
            <ac:spMkLst>
              <pc:docMk/>
              <pc:sldMasterMk cId="2791372136" sldId="2147483777"/>
              <pc:sldLayoutMk cId="3829185410" sldId="2147483979"/>
              <ac:spMk id="4" creationId="{72C71C31-95EC-3672-100A-9AC13D99EFC1}"/>
            </ac:spMkLst>
          </pc:spChg>
          <pc:grpChg chg="add mod">
            <ac:chgData name="Hans Gelissen (DHL SSC Maastricht)" userId="1afa8510-4eed-4b73-a29e-678838cd8acd" providerId="ADAL" clId="{C58DBB88-EC80-4135-8C14-80D2FEEFCB85}" dt="2023-06-27T09:08:01.536" v="68"/>
            <ac:grpSpMkLst>
              <pc:docMk/>
              <pc:sldMasterMk cId="2791372136" sldId="2147483777"/>
              <pc:sldLayoutMk cId="3829185410" sldId="2147483979"/>
              <ac:grpSpMk id="2" creationId="{DEDDCB50-D374-B820-4835-F855C85B0B35}"/>
            </ac:grpSpMkLst>
          </pc:grpChg>
          <pc:grpChg chg="del">
            <ac:chgData name="Hans Gelissen (DHL SSC Maastricht)" userId="1afa8510-4eed-4b73-a29e-678838cd8acd" providerId="ADAL" clId="{C58DBB88-EC80-4135-8C14-80D2FEEFCB85}" dt="2023-06-27T09:07:29.187" v="37" actId="478"/>
            <ac:grpSpMkLst>
              <pc:docMk/>
              <pc:sldMasterMk cId="2791372136" sldId="2147483777"/>
              <pc:sldLayoutMk cId="3829185410" sldId="2147483979"/>
              <ac:grpSpMk id="65" creationId="{1BDED68A-58CE-477A-8081-6078BF2E6B86}"/>
            </ac:grpSpMkLst>
          </pc:grpChg>
          <pc:picChg chg="mod">
            <ac:chgData name="Hans Gelissen (DHL SSC Maastricht)" userId="1afa8510-4eed-4b73-a29e-678838cd8acd" providerId="ADAL" clId="{C58DBB88-EC80-4135-8C14-80D2FEEFCB85}" dt="2023-06-27T09:08:01.536" v="68"/>
            <ac:picMkLst>
              <pc:docMk/>
              <pc:sldMasterMk cId="2791372136" sldId="2147483777"/>
              <pc:sldLayoutMk cId="3829185410" sldId="2147483979"/>
              <ac:picMk id="5" creationId="{9FB6B31F-BB76-0AC8-19AC-AFA66CBC48F5}"/>
            </ac:picMkLst>
          </pc:picChg>
          <pc:picChg chg="mod">
            <ac:chgData name="Hans Gelissen (DHL SSC Maastricht)" userId="1afa8510-4eed-4b73-a29e-678838cd8acd" providerId="ADAL" clId="{C58DBB88-EC80-4135-8C14-80D2FEEFCB85}" dt="2023-06-27T09:08:01.536" v="68"/>
            <ac:picMkLst>
              <pc:docMk/>
              <pc:sldMasterMk cId="2791372136" sldId="2147483777"/>
              <pc:sldLayoutMk cId="3829185410" sldId="2147483979"/>
              <ac:picMk id="6" creationId="{32E18452-BAAF-DD4D-3A64-C7DDDDEFE3E3}"/>
            </ac:picMkLst>
          </pc:picChg>
          <pc:picChg chg="mod">
            <ac:chgData name="Hans Gelissen (DHL SSC Maastricht)" userId="1afa8510-4eed-4b73-a29e-678838cd8acd" providerId="ADAL" clId="{C58DBB88-EC80-4135-8C14-80D2FEEFCB85}" dt="2023-06-27T09:08:01.536" v="68"/>
            <ac:picMkLst>
              <pc:docMk/>
              <pc:sldMasterMk cId="2791372136" sldId="2147483777"/>
              <pc:sldLayoutMk cId="3829185410" sldId="2147483979"/>
              <ac:picMk id="7" creationId="{A578641D-4EF4-98A6-579E-E9D600993BE9}"/>
            </ac:picMkLst>
          </pc:picChg>
        </pc:sldLayoutChg>
      </pc:sldMasterChg>
    </pc:docChg>
  </pc:docChgLst>
  <pc:docChgLst>
    <pc:chgData name="Hans Gelissen (DHL SSC Maastricht)" userId="1afa8510-4eed-4b73-a29e-678838cd8acd" providerId="ADAL" clId="{8A350684-7764-4507-9138-96ED9B87A59E}"/>
    <pc:docChg chg="undo redo custSel modSld addMainMaster modMainMaster">
      <pc:chgData name="Hans Gelissen (DHL SSC Maastricht)" userId="1afa8510-4eed-4b73-a29e-678838cd8acd" providerId="ADAL" clId="{8A350684-7764-4507-9138-96ED9B87A59E}" dt="2023-03-14T09:43:42.488" v="257" actId="2711"/>
      <pc:docMkLst>
        <pc:docMk/>
      </pc:docMkLst>
      <pc:sldChg chg="modSp mod modClrScheme chgLayout">
        <pc:chgData name="Hans Gelissen (DHL SSC Maastricht)" userId="1afa8510-4eed-4b73-a29e-678838cd8acd" providerId="ADAL" clId="{8A350684-7764-4507-9138-96ED9B87A59E}" dt="2023-03-13T13:03:58.921" v="250" actId="700"/>
        <pc:sldMkLst>
          <pc:docMk/>
          <pc:sldMk cId="3223761135" sldId="282"/>
        </pc:sldMkLst>
        <pc:spChg chg="mod">
          <ac:chgData name="Hans Gelissen (DHL SSC Maastricht)" userId="1afa8510-4eed-4b73-a29e-678838cd8acd" providerId="ADAL" clId="{8A350684-7764-4507-9138-96ED9B87A59E}" dt="2023-03-13T12:55:43.774" v="227" actId="1076"/>
          <ac:spMkLst>
            <pc:docMk/>
            <pc:sldMk cId="3223761135" sldId="282"/>
            <ac:spMk id="4" creationId="{A1366F1C-2958-456E-9ED3-CE15270DFB0B}"/>
          </ac:spMkLst>
        </pc:spChg>
        <pc:spChg chg="mod">
          <ac:chgData name="Hans Gelissen (DHL SSC Maastricht)" userId="1afa8510-4eed-4b73-a29e-678838cd8acd" providerId="ADAL" clId="{8A350684-7764-4507-9138-96ED9B87A59E}" dt="2023-03-13T13:02:08.437" v="249" actId="1076"/>
          <ac:spMkLst>
            <pc:docMk/>
            <pc:sldMk cId="3223761135" sldId="282"/>
            <ac:spMk id="7" creationId="{110818A4-C4AF-45B5-93BF-A75FD2BCF8F0}"/>
          </ac:spMkLst>
        </pc:spChg>
        <pc:spChg chg="mod">
          <ac:chgData name="Hans Gelissen (DHL SSC Maastricht)" userId="1afa8510-4eed-4b73-a29e-678838cd8acd" providerId="ADAL" clId="{8A350684-7764-4507-9138-96ED9B87A59E}" dt="2023-03-13T12:56:23.238" v="236" actId="1076"/>
          <ac:spMkLst>
            <pc:docMk/>
            <pc:sldMk cId="3223761135" sldId="282"/>
            <ac:spMk id="14" creationId="{D028DF70-0AC2-49AB-AE0A-0FD6F0C07A3B}"/>
          </ac:spMkLst>
        </pc:spChg>
        <pc:spChg chg="mod">
          <ac:chgData name="Hans Gelissen (DHL SSC Maastricht)" userId="1afa8510-4eed-4b73-a29e-678838cd8acd" providerId="ADAL" clId="{8A350684-7764-4507-9138-96ED9B87A59E}" dt="2023-03-13T12:56:27.417" v="237" actId="403"/>
          <ac:spMkLst>
            <pc:docMk/>
            <pc:sldMk cId="3223761135" sldId="282"/>
            <ac:spMk id="15" creationId="{D5686EDD-88A3-4E26-A644-2FF069E3DAF1}"/>
          </ac:spMkLst>
        </pc:spChg>
        <pc:spChg chg="mod">
          <ac:chgData name="Hans Gelissen (DHL SSC Maastricht)" userId="1afa8510-4eed-4b73-a29e-678838cd8acd" providerId="ADAL" clId="{8A350684-7764-4507-9138-96ED9B87A59E}" dt="2023-03-13T12:56:17.524" v="234" actId="1076"/>
          <ac:spMkLst>
            <pc:docMk/>
            <pc:sldMk cId="3223761135" sldId="282"/>
            <ac:spMk id="17" creationId="{823BBED1-AE4F-4E3C-9927-947A28C04642}"/>
          </ac:spMkLst>
        </pc:spChg>
        <pc:spChg chg="mod">
          <ac:chgData name="Hans Gelissen (DHL SSC Maastricht)" userId="1afa8510-4eed-4b73-a29e-678838cd8acd" providerId="ADAL" clId="{8A350684-7764-4507-9138-96ED9B87A59E}" dt="2023-03-13T12:56:27.417" v="237" actId="403"/>
          <ac:spMkLst>
            <pc:docMk/>
            <pc:sldMk cId="3223761135" sldId="282"/>
            <ac:spMk id="18" creationId="{AA737609-09C5-4AF1-981B-B38AF015B213}"/>
          </ac:spMkLst>
        </pc:spChg>
        <pc:spChg chg="mod">
          <ac:chgData name="Hans Gelissen (DHL SSC Maastricht)" userId="1afa8510-4eed-4b73-a29e-678838cd8acd" providerId="ADAL" clId="{8A350684-7764-4507-9138-96ED9B87A59E}" dt="2023-03-13T12:56:20.605" v="235" actId="1076"/>
          <ac:spMkLst>
            <pc:docMk/>
            <pc:sldMk cId="3223761135" sldId="282"/>
            <ac:spMk id="20" creationId="{8F7D7CFC-7A10-426E-9355-E8170FB7B910}"/>
          </ac:spMkLst>
        </pc:spChg>
        <pc:spChg chg="mod">
          <ac:chgData name="Hans Gelissen (DHL SSC Maastricht)" userId="1afa8510-4eed-4b73-a29e-678838cd8acd" providerId="ADAL" clId="{8A350684-7764-4507-9138-96ED9B87A59E}" dt="2023-03-13T12:56:27.417" v="237" actId="403"/>
          <ac:spMkLst>
            <pc:docMk/>
            <pc:sldMk cId="3223761135" sldId="282"/>
            <ac:spMk id="21" creationId="{0B839A31-4B81-4D28-B72A-D3A3123FB6F9}"/>
          </ac:spMkLst>
        </pc:spChg>
        <pc:spChg chg="mod ord">
          <ac:chgData name="Hans Gelissen (DHL SSC Maastricht)" userId="1afa8510-4eed-4b73-a29e-678838cd8acd" providerId="ADAL" clId="{8A350684-7764-4507-9138-96ED9B87A59E}" dt="2023-03-13T13:03:58.921" v="250" actId="700"/>
          <ac:spMkLst>
            <pc:docMk/>
            <pc:sldMk cId="3223761135" sldId="282"/>
            <ac:spMk id="22" creationId="{6C0E8881-8451-4E57-96F1-E3D05E9ED366}"/>
          </ac:spMkLst>
        </pc:spChg>
        <pc:picChg chg="mod ord">
          <ac:chgData name="Hans Gelissen (DHL SSC Maastricht)" userId="1afa8510-4eed-4b73-a29e-678838cd8acd" providerId="ADAL" clId="{8A350684-7764-4507-9138-96ED9B87A59E}" dt="2023-03-13T13:03:58.921" v="250" actId="700"/>
          <ac:picMkLst>
            <pc:docMk/>
            <pc:sldMk cId="3223761135" sldId="282"/>
            <ac:picMk id="23" creationId="{B73D4C54-0A1D-4989-8D6F-45CD15603F54}"/>
          </ac:picMkLst>
        </pc:picChg>
      </pc:sldChg>
      <pc:sldChg chg="modSp">
        <pc:chgData name="Hans Gelissen (DHL SSC Maastricht)" userId="1afa8510-4eed-4b73-a29e-678838cd8acd" providerId="ADAL" clId="{8A350684-7764-4507-9138-96ED9B87A59E}" dt="2023-03-13T12:58:29.481" v="243" actId="2711"/>
        <pc:sldMkLst>
          <pc:docMk/>
          <pc:sldMk cId="2737807208" sldId="283"/>
        </pc:sldMkLst>
        <pc:spChg chg="mod">
          <ac:chgData name="Hans Gelissen (DHL SSC Maastricht)" userId="1afa8510-4eed-4b73-a29e-678838cd8acd" providerId="ADAL" clId="{8A350684-7764-4507-9138-96ED9B87A59E}" dt="2023-03-13T12:58:29.481" v="243" actId="2711"/>
          <ac:spMkLst>
            <pc:docMk/>
            <pc:sldMk cId="2737807208" sldId="283"/>
            <ac:spMk id="29" creationId="{1F381FEC-D546-4A1F-8FBE-99A15FC850A9}"/>
          </ac:spMkLst>
        </pc:spChg>
        <pc:spChg chg="mod">
          <ac:chgData name="Hans Gelissen (DHL SSC Maastricht)" userId="1afa8510-4eed-4b73-a29e-678838cd8acd" providerId="ADAL" clId="{8A350684-7764-4507-9138-96ED9B87A59E}" dt="2023-03-13T12:58:29.481" v="243" actId="2711"/>
          <ac:spMkLst>
            <pc:docMk/>
            <pc:sldMk cId="2737807208" sldId="283"/>
            <ac:spMk id="30" creationId="{01DEB4BF-5A6B-417C-B5AD-AA77194605DD}"/>
          </ac:spMkLst>
        </pc:spChg>
      </pc:sldChg>
      <pc:sldChg chg="addSp delSp modSp mod modClrScheme chgLayout">
        <pc:chgData name="Hans Gelissen (DHL SSC Maastricht)" userId="1afa8510-4eed-4b73-a29e-678838cd8acd" providerId="ADAL" clId="{8A350684-7764-4507-9138-96ED9B87A59E}" dt="2023-03-08T14:23:15.938" v="224" actId="700"/>
        <pc:sldMkLst>
          <pc:docMk/>
          <pc:sldMk cId="2219543139" sldId="284"/>
        </pc:sldMkLst>
        <pc:spChg chg="add del mod ord">
          <ac:chgData name="Hans Gelissen (DHL SSC Maastricht)" userId="1afa8510-4eed-4b73-a29e-678838cd8acd" providerId="ADAL" clId="{8A350684-7764-4507-9138-96ED9B87A59E}" dt="2023-03-06T15:21:26.062" v="72" actId="700"/>
          <ac:spMkLst>
            <pc:docMk/>
            <pc:sldMk cId="2219543139" sldId="284"/>
            <ac:spMk id="2" creationId="{47425300-E4C0-4C2A-A8DD-0F150E97D59A}"/>
          </ac:spMkLst>
        </pc:spChg>
        <pc:spChg chg="add del mod ord">
          <ac:chgData name="Hans Gelissen (DHL SSC Maastricht)" userId="1afa8510-4eed-4b73-a29e-678838cd8acd" providerId="ADAL" clId="{8A350684-7764-4507-9138-96ED9B87A59E}" dt="2023-03-08T14:09:00.408" v="126" actId="700"/>
          <ac:spMkLst>
            <pc:docMk/>
            <pc:sldMk cId="2219543139" sldId="284"/>
            <ac:spMk id="2" creationId="{ACFA0B8C-1E8B-400A-97AA-2A920B328E01}"/>
          </ac:spMkLst>
        </pc:spChg>
        <pc:spChg chg="add del mod ord">
          <ac:chgData name="Hans Gelissen (DHL SSC Maastricht)" userId="1afa8510-4eed-4b73-a29e-678838cd8acd" providerId="ADAL" clId="{8A350684-7764-4507-9138-96ED9B87A59E}" dt="2023-03-06T15:21:26.062" v="72" actId="700"/>
          <ac:spMkLst>
            <pc:docMk/>
            <pc:sldMk cId="2219543139" sldId="284"/>
            <ac:spMk id="3" creationId="{6F677D1F-F6BA-4796-A263-BFFE035D4AE8}"/>
          </ac:spMkLst>
        </pc:spChg>
        <pc:spChg chg="add del mod ord">
          <ac:chgData name="Hans Gelissen (DHL SSC Maastricht)" userId="1afa8510-4eed-4b73-a29e-678838cd8acd" providerId="ADAL" clId="{8A350684-7764-4507-9138-96ED9B87A59E}" dt="2023-03-08T14:23:15.938" v="224" actId="700"/>
          <ac:spMkLst>
            <pc:docMk/>
            <pc:sldMk cId="2219543139" sldId="284"/>
            <ac:spMk id="3" creationId="{7AB72FC8-D96B-440C-A133-F44808516468}"/>
          </ac:spMkLst>
        </pc:spChg>
        <pc:spChg chg="add del mod ord">
          <ac:chgData name="Hans Gelissen (DHL SSC Maastricht)" userId="1afa8510-4eed-4b73-a29e-678838cd8acd" providerId="ADAL" clId="{8A350684-7764-4507-9138-96ED9B87A59E}" dt="2023-03-08T14:09:37.157" v="127" actId="931"/>
          <ac:spMkLst>
            <pc:docMk/>
            <pc:sldMk cId="2219543139" sldId="284"/>
            <ac:spMk id="4" creationId="{671A2FA9-A851-4415-97B0-89D0A1E3889F}"/>
          </ac:spMkLst>
        </pc:spChg>
        <pc:spChg chg="add del mod ord">
          <ac:chgData name="Hans Gelissen (DHL SSC Maastricht)" userId="1afa8510-4eed-4b73-a29e-678838cd8acd" providerId="ADAL" clId="{8A350684-7764-4507-9138-96ED9B87A59E}" dt="2023-03-06T15:21:26.062" v="72" actId="700"/>
          <ac:spMkLst>
            <pc:docMk/>
            <pc:sldMk cId="2219543139" sldId="284"/>
            <ac:spMk id="4" creationId="{82556BD1-EB53-4BF7-AB78-5A45DFCB4626}"/>
          </ac:spMkLst>
        </pc:spChg>
        <pc:spChg chg="add del mod ord">
          <ac:chgData name="Hans Gelissen (DHL SSC Maastricht)" userId="1afa8510-4eed-4b73-a29e-678838cd8acd" providerId="ADAL" clId="{8A350684-7764-4507-9138-96ED9B87A59E}" dt="2023-03-06T15:21:26.062" v="72" actId="700"/>
          <ac:spMkLst>
            <pc:docMk/>
            <pc:sldMk cId="2219543139" sldId="284"/>
            <ac:spMk id="5" creationId="{DEB2A014-4F81-4764-81C6-0969A3723F8E}"/>
          </ac:spMkLst>
        </pc:spChg>
        <pc:spChg chg="add del mod ord">
          <ac:chgData name="Hans Gelissen (DHL SSC Maastricht)" userId="1afa8510-4eed-4b73-a29e-678838cd8acd" providerId="ADAL" clId="{8A350684-7764-4507-9138-96ED9B87A59E}" dt="2023-03-06T15:21:26.062" v="72" actId="700"/>
          <ac:spMkLst>
            <pc:docMk/>
            <pc:sldMk cId="2219543139" sldId="284"/>
            <ac:spMk id="6" creationId="{5096FB36-A35B-4F55-9B86-4ADA4D4AFBCD}"/>
          </ac:spMkLst>
        </pc:spChg>
        <pc:spChg chg="add del mod ord">
          <ac:chgData name="Hans Gelissen (DHL SSC Maastricht)" userId="1afa8510-4eed-4b73-a29e-678838cd8acd" providerId="ADAL" clId="{8A350684-7764-4507-9138-96ED9B87A59E}" dt="2023-03-06T15:21:26.062" v="72" actId="700"/>
          <ac:spMkLst>
            <pc:docMk/>
            <pc:sldMk cId="2219543139" sldId="284"/>
            <ac:spMk id="7" creationId="{37DE9C01-BDA6-4F58-861C-05C670E1311C}"/>
          </ac:spMkLst>
        </pc:spChg>
        <pc:spChg chg="add del mod ord">
          <ac:chgData name="Hans Gelissen (DHL SSC Maastricht)" userId="1afa8510-4eed-4b73-a29e-678838cd8acd" providerId="ADAL" clId="{8A350684-7764-4507-9138-96ED9B87A59E}" dt="2023-03-08T14:06:19.713" v="123" actId="700"/>
          <ac:spMkLst>
            <pc:docMk/>
            <pc:sldMk cId="2219543139" sldId="284"/>
            <ac:spMk id="8" creationId="{68129025-73D4-4FFE-B90C-7875AE10C34E}"/>
          </ac:spMkLst>
        </pc:spChg>
        <pc:spChg chg="add del mod">
          <ac:chgData name="Hans Gelissen (DHL SSC Maastricht)" userId="1afa8510-4eed-4b73-a29e-678838cd8acd" providerId="ADAL" clId="{8A350684-7764-4507-9138-96ED9B87A59E}" dt="2023-03-08T14:10:28.751" v="131" actId="931"/>
          <ac:spMkLst>
            <pc:docMk/>
            <pc:sldMk cId="2219543139" sldId="284"/>
            <ac:spMk id="9" creationId="{FE6FB4C8-E1E2-430C-AD57-FEA24110AA00}"/>
          </ac:spMkLst>
        </pc:spChg>
        <pc:spChg chg="add del mod">
          <ac:chgData name="Hans Gelissen (DHL SSC Maastricht)" userId="1afa8510-4eed-4b73-a29e-678838cd8acd" providerId="ADAL" clId="{8A350684-7764-4507-9138-96ED9B87A59E}" dt="2023-03-08T14:23:15.938" v="224" actId="700"/>
          <ac:spMkLst>
            <pc:docMk/>
            <pc:sldMk cId="2219543139" sldId="284"/>
            <ac:spMk id="13" creationId="{8889720C-C4D5-4E59-9A4C-EDEF98D08B60}"/>
          </ac:spMkLst>
        </pc:spChg>
        <pc:spChg chg="add del mod ord">
          <ac:chgData name="Hans Gelissen (DHL SSC Maastricht)" userId="1afa8510-4eed-4b73-a29e-678838cd8acd" providerId="ADAL" clId="{8A350684-7764-4507-9138-96ED9B87A59E}" dt="2023-03-08T14:22:01.507" v="223" actId="700"/>
          <ac:spMkLst>
            <pc:docMk/>
            <pc:sldMk cId="2219543139" sldId="284"/>
            <ac:spMk id="14" creationId="{E6DC596E-B758-4924-BF79-796863BB91F1}"/>
          </ac:spMkLst>
        </pc:spChg>
        <pc:spChg chg="add mod ord">
          <ac:chgData name="Hans Gelissen (DHL SSC Maastricht)" userId="1afa8510-4eed-4b73-a29e-678838cd8acd" providerId="ADAL" clId="{8A350684-7764-4507-9138-96ED9B87A59E}" dt="2023-03-08T14:23:15.938" v="224" actId="700"/>
          <ac:spMkLst>
            <pc:docMk/>
            <pc:sldMk cId="2219543139" sldId="284"/>
            <ac:spMk id="15" creationId="{36BAE3D0-71D3-4780-B5CD-62064DA144FC}"/>
          </ac:spMkLst>
        </pc:spChg>
        <pc:spChg chg="del mod ord">
          <ac:chgData name="Hans Gelissen (DHL SSC Maastricht)" userId="1afa8510-4eed-4b73-a29e-678838cd8acd" providerId="ADAL" clId="{8A350684-7764-4507-9138-96ED9B87A59E}" dt="2023-03-06T15:21:17.653" v="71" actId="700"/>
          <ac:spMkLst>
            <pc:docMk/>
            <pc:sldMk cId="2219543139" sldId="284"/>
            <ac:spMk id="394" creationId="{7F1820A0-6D57-49DC-8E5F-0F3E0B6F8B8D}"/>
          </ac:spMkLst>
        </pc:spChg>
        <pc:picChg chg="add del mod">
          <ac:chgData name="Hans Gelissen (DHL SSC Maastricht)" userId="1afa8510-4eed-4b73-a29e-678838cd8acd" providerId="ADAL" clId="{8A350684-7764-4507-9138-96ED9B87A59E}" dt="2023-03-08T14:10:19.433" v="130" actId="478"/>
          <ac:picMkLst>
            <pc:docMk/>
            <pc:sldMk cId="2219543139" sldId="284"/>
            <ac:picMk id="6" creationId="{2812FFE2-1362-435D-963B-F436925268B8}"/>
          </ac:picMkLst>
        </pc:picChg>
        <pc:picChg chg="add del mod modCrop">
          <ac:chgData name="Hans Gelissen (DHL SSC Maastricht)" userId="1afa8510-4eed-4b73-a29e-678838cd8acd" providerId="ADAL" clId="{8A350684-7764-4507-9138-96ED9B87A59E}" dt="2023-03-08T14:10:59.051" v="138" actId="21"/>
          <ac:picMkLst>
            <pc:docMk/>
            <pc:sldMk cId="2219543139" sldId="284"/>
            <ac:picMk id="11" creationId="{F540ECC6-262E-4EE5-A2C4-295B171F8487}"/>
          </ac:picMkLst>
        </pc:picChg>
      </pc:sldChg>
      <pc:sldChg chg="addSp delSp modSp mod">
        <pc:chgData name="Hans Gelissen (DHL SSC Maastricht)" userId="1afa8510-4eed-4b73-a29e-678838cd8acd" providerId="ADAL" clId="{8A350684-7764-4507-9138-96ED9B87A59E}" dt="2023-03-13T12:57:28.355" v="241" actId="478"/>
        <pc:sldMkLst>
          <pc:docMk/>
          <pc:sldMk cId="2907131151" sldId="285"/>
        </pc:sldMkLst>
        <pc:spChg chg="del">
          <ac:chgData name="Hans Gelissen (DHL SSC Maastricht)" userId="1afa8510-4eed-4b73-a29e-678838cd8acd" providerId="ADAL" clId="{8A350684-7764-4507-9138-96ED9B87A59E}" dt="2023-03-13T12:57:11.442" v="238" actId="478"/>
          <ac:spMkLst>
            <pc:docMk/>
            <pc:sldMk cId="2907131151" sldId="285"/>
            <ac:spMk id="4" creationId="{A1366F1C-2958-456E-9ED3-CE15270DFB0B}"/>
          </ac:spMkLst>
        </pc:spChg>
        <pc:spChg chg="del">
          <ac:chgData name="Hans Gelissen (DHL SSC Maastricht)" userId="1afa8510-4eed-4b73-a29e-678838cd8acd" providerId="ADAL" clId="{8A350684-7764-4507-9138-96ED9B87A59E}" dt="2023-03-13T12:57:11.442" v="238" actId="478"/>
          <ac:spMkLst>
            <pc:docMk/>
            <pc:sldMk cId="2907131151" sldId="285"/>
            <ac:spMk id="14" creationId="{D028DF70-0AC2-49AB-AE0A-0FD6F0C07A3B}"/>
          </ac:spMkLst>
        </pc:spChg>
        <pc:spChg chg="del">
          <ac:chgData name="Hans Gelissen (DHL SSC Maastricht)" userId="1afa8510-4eed-4b73-a29e-678838cd8acd" providerId="ADAL" clId="{8A350684-7764-4507-9138-96ED9B87A59E}" dt="2023-03-13T12:57:11.442" v="238" actId="478"/>
          <ac:spMkLst>
            <pc:docMk/>
            <pc:sldMk cId="2907131151" sldId="285"/>
            <ac:spMk id="15" creationId="{D5686EDD-88A3-4E26-A644-2FF069E3DAF1}"/>
          </ac:spMkLst>
        </pc:spChg>
        <pc:spChg chg="del">
          <ac:chgData name="Hans Gelissen (DHL SSC Maastricht)" userId="1afa8510-4eed-4b73-a29e-678838cd8acd" providerId="ADAL" clId="{8A350684-7764-4507-9138-96ED9B87A59E}" dt="2023-03-13T12:57:11.442" v="238" actId="478"/>
          <ac:spMkLst>
            <pc:docMk/>
            <pc:sldMk cId="2907131151" sldId="285"/>
            <ac:spMk id="17" creationId="{823BBED1-AE4F-4E3C-9927-947A28C04642}"/>
          </ac:spMkLst>
        </pc:spChg>
        <pc:spChg chg="del">
          <ac:chgData name="Hans Gelissen (DHL SSC Maastricht)" userId="1afa8510-4eed-4b73-a29e-678838cd8acd" providerId="ADAL" clId="{8A350684-7764-4507-9138-96ED9B87A59E}" dt="2023-03-13T12:57:11.442" v="238" actId="478"/>
          <ac:spMkLst>
            <pc:docMk/>
            <pc:sldMk cId="2907131151" sldId="285"/>
            <ac:spMk id="18" creationId="{AA737609-09C5-4AF1-981B-B38AF015B213}"/>
          </ac:spMkLst>
        </pc:spChg>
        <pc:spChg chg="del">
          <ac:chgData name="Hans Gelissen (DHL SSC Maastricht)" userId="1afa8510-4eed-4b73-a29e-678838cd8acd" providerId="ADAL" clId="{8A350684-7764-4507-9138-96ED9B87A59E}" dt="2023-03-13T12:57:11.442" v="238" actId="478"/>
          <ac:spMkLst>
            <pc:docMk/>
            <pc:sldMk cId="2907131151" sldId="285"/>
            <ac:spMk id="20" creationId="{8F7D7CFC-7A10-426E-9355-E8170FB7B910}"/>
          </ac:spMkLst>
        </pc:spChg>
        <pc:spChg chg="del">
          <ac:chgData name="Hans Gelissen (DHL SSC Maastricht)" userId="1afa8510-4eed-4b73-a29e-678838cd8acd" providerId="ADAL" clId="{8A350684-7764-4507-9138-96ED9B87A59E}" dt="2023-03-13T12:57:11.442" v="238" actId="478"/>
          <ac:spMkLst>
            <pc:docMk/>
            <pc:sldMk cId="2907131151" sldId="285"/>
            <ac:spMk id="21" creationId="{0B839A31-4B81-4D28-B72A-D3A3123FB6F9}"/>
          </ac:spMkLst>
        </pc:spChg>
        <pc:spChg chg="add mod">
          <ac:chgData name="Hans Gelissen (DHL SSC Maastricht)" userId="1afa8510-4eed-4b73-a29e-678838cd8acd" providerId="ADAL" clId="{8A350684-7764-4507-9138-96ED9B87A59E}" dt="2023-03-13T12:57:11.814" v="239"/>
          <ac:spMkLst>
            <pc:docMk/>
            <pc:sldMk cId="2907131151" sldId="285"/>
            <ac:spMk id="23" creationId="{D1ADF78A-2342-42AC-AEEB-40C6D46B7C0B}"/>
          </ac:spMkLst>
        </pc:spChg>
        <pc:spChg chg="add mod">
          <ac:chgData name="Hans Gelissen (DHL SSC Maastricht)" userId="1afa8510-4eed-4b73-a29e-678838cd8acd" providerId="ADAL" clId="{8A350684-7764-4507-9138-96ED9B87A59E}" dt="2023-03-13T12:57:11.814" v="239"/>
          <ac:spMkLst>
            <pc:docMk/>
            <pc:sldMk cId="2907131151" sldId="285"/>
            <ac:spMk id="24" creationId="{D06A2B06-16F0-46EA-A052-6CBDD6F01092}"/>
          </ac:spMkLst>
        </pc:spChg>
        <pc:spChg chg="add mod">
          <ac:chgData name="Hans Gelissen (DHL SSC Maastricht)" userId="1afa8510-4eed-4b73-a29e-678838cd8acd" providerId="ADAL" clId="{8A350684-7764-4507-9138-96ED9B87A59E}" dt="2023-03-13T12:57:11.814" v="239"/>
          <ac:spMkLst>
            <pc:docMk/>
            <pc:sldMk cId="2907131151" sldId="285"/>
            <ac:spMk id="25" creationId="{FB4B0965-8DA7-4DBC-8BBF-A05503C4D906}"/>
          </ac:spMkLst>
        </pc:spChg>
        <pc:spChg chg="add mod">
          <ac:chgData name="Hans Gelissen (DHL SSC Maastricht)" userId="1afa8510-4eed-4b73-a29e-678838cd8acd" providerId="ADAL" clId="{8A350684-7764-4507-9138-96ED9B87A59E}" dt="2023-03-13T12:57:11.814" v="239"/>
          <ac:spMkLst>
            <pc:docMk/>
            <pc:sldMk cId="2907131151" sldId="285"/>
            <ac:spMk id="26" creationId="{2C1FED7C-EF46-473E-A3AF-F09BD8ECA215}"/>
          </ac:spMkLst>
        </pc:spChg>
        <pc:spChg chg="add mod">
          <ac:chgData name="Hans Gelissen (DHL SSC Maastricht)" userId="1afa8510-4eed-4b73-a29e-678838cd8acd" providerId="ADAL" clId="{8A350684-7764-4507-9138-96ED9B87A59E}" dt="2023-03-13T12:57:11.814" v="239"/>
          <ac:spMkLst>
            <pc:docMk/>
            <pc:sldMk cId="2907131151" sldId="285"/>
            <ac:spMk id="27" creationId="{F48088B0-F61B-4784-A4F3-6C92EE6E44E0}"/>
          </ac:spMkLst>
        </pc:spChg>
        <pc:spChg chg="add mod">
          <ac:chgData name="Hans Gelissen (DHL SSC Maastricht)" userId="1afa8510-4eed-4b73-a29e-678838cd8acd" providerId="ADAL" clId="{8A350684-7764-4507-9138-96ED9B87A59E}" dt="2023-03-13T12:57:11.814" v="239"/>
          <ac:spMkLst>
            <pc:docMk/>
            <pc:sldMk cId="2907131151" sldId="285"/>
            <ac:spMk id="28" creationId="{D114C9FC-B874-4A34-BC87-624E908E754A}"/>
          </ac:spMkLst>
        </pc:spChg>
        <pc:spChg chg="add mod">
          <ac:chgData name="Hans Gelissen (DHL SSC Maastricht)" userId="1afa8510-4eed-4b73-a29e-678838cd8acd" providerId="ADAL" clId="{8A350684-7764-4507-9138-96ED9B87A59E}" dt="2023-03-13T12:57:11.814" v="239"/>
          <ac:spMkLst>
            <pc:docMk/>
            <pc:sldMk cId="2907131151" sldId="285"/>
            <ac:spMk id="29" creationId="{045BF4D2-55E8-4453-B887-51F125837DDB}"/>
          </ac:spMkLst>
        </pc:spChg>
        <pc:picChg chg="add del mod">
          <ac:chgData name="Hans Gelissen (DHL SSC Maastricht)" userId="1afa8510-4eed-4b73-a29e-678838cd8acd" providerId="ADAL" clId="{8A350684-7764-4507-9138-96ED9B87A59E}" dt="2023-03-13T12:57:28.355" v="241" actId="478"/>
          <ac:picMkLst>
            <pc:docMk/>
            <pc:sldMk cId="2907131151" sldId="285"/>
            <ac:picMk id="30" creationId="{05649EEF-920C-49FD-8764-CE41193A9574}"/>
          </ac:picMkLst>
        </pc:picChg>
      </pc:sldChg>
      <pc:sldChg chg="modSp">
        <pc:chgData name="Hans Gelissen (DHL SSC Maastricht)" userId="1afa8510-4eed-4b73-a29e-678838cd8acd" providerId="ADAL" clId="{8A350684-7764-4507-9138-96ED9B87A59E}" dt="2023-03-13T12:58:15.579" v="242" actId="2711"/>
        <pc:sldMkLst>
          <pc:docMk/>
          <pc:sldMk cId="1318613216" sldId="286"/>
        </pc:sldMkLst>
        <pc:spChg chg="mod">
          <ac:chgData name="Hans Gelissen (DHL SSC Maastricht)" userId="1afa8510-4eed-4b73-a29e-678838cd8acd" providerId="ADAL" clId="{8A350684-7764-4507-9138-96ED9B87A59E}" dt="2023-03-13T12:58:15.579" v="242" actId="2711"/>
          <ac:spMkLst>
            <pc:docMk/>
            <pc:sldMk cId="1318613216" sldId="286"/>
            <ac:spMk id="5" creationId="{6A603669-A424-47F2-8F84-4FA4AB954ECB}"/>
          </ac:spMkLst>
        </pc:spChg>
        <pc:spChg chg="mod">
          <ac:chgData name="Hans Gelissen (DHL SSC Maastricht)" userId="1afa8510-4eed-4b73-a29e-678838cd8acd" providerId="ADAL" clId="{8A350684-7764-4507-9138-96ED9B87A59E}" dt="2023-03-13T12:58:15.579" v="242" actId="2711"/>
          <ac:spMkLst>
            <pc:docMk/>
            <pc:sldMk cId="1318613216" sldId="286"/>
            <ac:spMk id="6" creationId="{838CE19D-B9F0-4671-A3BF-470357C6E83B}"/>
          </ac:spMkLst>
        </pc:spChg>
        <pc:spChg chg="mod">
          <ac:chgData name="Hans Gelissen (DHL SSC Maastricht)" userId="1afa8510-4eed-4b73-a29e-678838cd8acd" providerId="ADAL" clId="{8A350684-7764-4507-9138-96ED9B87A59E}" dt="2023-03-13T12:58:15.579" v="242" actId="2711"/>
          <ac:spMkLst>
            <pc:docMk/>
            <pc:sldMk cId="1318613216" sldId="286"/>
            <ac:spMk id="11" creationId="{7A042BD6-1755-4AE4-AEB8-D6B334CE7D57}"/>
          </ac:spMkLst>
        </pc:spChg>
        <pc:spChg chg="mod">
          <ac:chgData name="Hans Gelissen (DHL SSC Maastricht)" userId="1afa8510-4eed-4b73-a29e-678838cd8acd" providerId="ADAL" clId="{8A350684-7764-4507-9138-96ED9B87A59E}" dt="2023-03-13T12:58:15.579" v="242" actId="2711"/>
          <ac:spMkLst>
            <pc:docMk/>
            <pc:sldMk cId="1318613216" sldId="286"/>
            <ac:spMk id="12" creationId="{03340572-7063-4A28-93E8-42D8A805D544}"/>
          </ac:spMkLst>
        </pc:spChg>
        <pc:spChg chg="mod">
          <ac:chgData name="Hans Gelissen (DHL SSC Maastricht)" userId="1afa8510-4eed-4b73-a29e-678838cd8acd" providerId="ADAL" clId="{8A350684-7764-4507-9138-96ED9B87A59E}" dt="2023-03-13T12:58:15.579" v="242" actId="2711"/>
          <ac:spMkLst>
            <pc:docMk/>
            <pc:sldMk cId="1318613216" sldId="286"/>
            <ac:spMk id="14" creationId="{1FFAB1E0-C82A-4F2D-AF8F-D83E0B7A1A1C}"/>
          </ac:spMkLst>
        </pc:spChg>
        <pc:spChg chg="mod">
          <ac:chgData name="Hans Gelissen (DHL SSC Maastricht)" userId="1afa8510-4eed-4b73-a29e-678838cd8acd" providerId="ADAL" clId="{8A350684-7764-4507-9138-96ED9B87A59E}" dt="2023-03-13T12:58:15.579" v="242" actId="2711"/>
          <ac:spMkLst>
            <pc:docMk/>
            <pc:sldMk cId="1318613216" sldId="286"/>
            <ac:spMk id="15" creationId="{746EA0AA-9FE0-421E-985E-6CFBEF65571C}"/>
          </ac:spMkLst>
        </pc:spChg>
        <pc:spChg chg="mod">
          <ac:chgData name="Hans Gelissen (DHL SSC Maastricht)" userId="1afa8510-4eed-4b73-a29e-678838cd8acd" providerId="ADAL" clId="{8A350684-7764-4507-9138-96ED9B87A59E}" dt="2023-03-13T12:58:15.579" v="242" actId="2711"/>
          <ac:spMkLst>
            <pc:docMk/>
            <pc:sldMk cId="1318613216" sldId="286"/>
            <ac:spMk id="18" creationId="{86585DDC-1553-4952-B09F-DA87E764361B}"/>
          </ac:spMkLst>
        </pc:spChg>
        <pc:spChg chg="mod">
          <ac:chgData name="Hans Gelissen (DHL SSC Maastricht)" userId="1afa8510-4eed-4b73-a29e-678838cd8acd" providerId="ADAL" clId="{8A350684-7764-4507-9138-96ED9B87A59E}" dt="2023-03-13T12:58:15.579" v="242" actId="2711"/>
          <ac:spMkLst>
            <pc:docMk/>
            <pc:sldMk cId="1318613216" sldId="286"/>
            <ac:spMk id="19" creationId="{1C2B125F-0C7B-40FB-B290-A64CCBF579D6}"/>
          </ac:spMkLst>
        </pc:spChg>
        <pc:spChg chg="mod">
          <ac:chgData name="Hans Gelissen (DHL SSC Maastricht)" userId="1afa8510-4eed-4b73-a29e-678838cd8acd" providerId="ADAL" clId="{8A350684-7764-4507-9138-96ED9B87A59E}" dt="2023-03-13T12:58:15.579" v="242" actId="2711"/>
          <ac:spMkLst>
            <pc:docMk/>
            <pc:sldMk cId="1318613216" sldId="286"/>
            <ac:spMk id="20" creationId="{E9E4A9DF-E77F-415F-9BE6-EF02A36AEB54}"/>
          </ac:spMkLst>
        </pc:spChg>
        <pc:spChg chg="mod">
          <ac:chgData name="Hans Gelissen (DHL SSC Maastricht)" userId="1afa8510-4eed-4b73-a29e-678838cd8acd" providerId="ADAL" clId="{8A350684-7764-4507-9138-96ED9B87A59E}" dt="2023-03-13T12:58:15.579" v="242" actId="2711"/>
          <ac:spMkLst>
            <pc:docMk/>
            <pc:sldMk cId="1318613216" sldId="286"/>
            <ac:spMk id="21" creationId="{FE35AD75-BE8E-4CCA-B97F-820A8E1AB5FC}"/>
          </ac:spMkLst>
        </pc:spChg>
      </pc:sldChg>
      <pc:sldMasterChg chg="modSldLayout">
        <pc:chgData name="Hans Gelissen (DHL SSC Maastricht)" userId="1afa8510-4eed-4b73-a29e-678838cd8acd" providerId="ADAL" clId="{8A350684-7764-4507-9138-96ED9B87A59E}" dt="2023-03-13T13:57:51.239" v="251" actId="1076"/>
        <pc:sldMasterMkLst>
          <pc:docMk/>
          <pc:sldMasterMk cId="2253695231" sldId="2147483754"/>
        </pc:sldMasterMkLst>
        <pc:sldLayoutChg chg="modSp mod">
          <pc:chgData name="Hans Gelissen (DHL SSC Maastricht)" userId="1afa8510-4eed-4b73-a29e-678838cd8acd" providerId="ADAL" clId="{8A350684-7764-4507-9138-96ED9B87A59E}" dt="2023-03-13T13:57:51.239" v="251" actId="1076"/>
          <pc:sldLayoutMkLst>
            <pc:docMk/>
            <pc:sldMasterMk cId="2253695231" sldId="2147483754"/>
            <pc:sldLayoutMk cId="3938857042" sldId="2147483927"/>
          </pc:sldLayoutMkLst>
          <pc:grpChg chg="mod">
            <ac:chgData name="Hans Gelissen (DHL SSC Maastricht)" userId="1afa8510-4eed-4b73-a29e-678838cd8acd" providerId="ADAL" clId="{8A350684-7764-4507-9138-96ED9B87A59E}" dt="2023-03-13T13:57:51.239" v="251" actId="1076"/>
            <ac:grpSpMkLst>
              <pc:docMk/>
              <pc:sldMasterMk cId="2253695231" sldId="2147483754"/>
              <pc:sldLayoutMk cId="3938857042" sldId="2147483927"/>
              <ac:grpSpMk id="10" creationId="{60824F2D-8428-405D-8215-08C1B17AB63A}"/>
            </ac:grpSpMkLst>
          </pc:grpChg>
        </pc:sldLayoutChg>
      </pc:sldMasterChg>
      <pc:sldMasterChg chg="modSldLayout">
        <pc:chgData name="Hans Gelissen (DHL SSC Maastricht)" userId="1afa8510-4eed-4b73-a29e-678838cd8acd" providerId="ADAL" clId="{8A350684-7764-4507-9138-96ED9B87A59E}" dt="2023-03-13T13:01:54.111" v="246"/>
        <pc:sldMasterMkLst>
          <pc:docMk/>
          <pc:sldMasterMk cId="31158695" sldId="2147483765"/>
        </pc:sldMasterMkLst>
        <pc:sldLayoutChg chg="addSp delSp modSp mod">
          <pc:chgData name="Hans Gelissen (DHL SSC Maastricht)" userId="1afa8510-4eed-4b73-a29e-678838cd8acd" providerId="ADAL" clId="{8A350684-7764-4507-9138-96ED9B87A59E}" dt="2023-03-13T13:01:54.111" v="246"/>
          <pc:sldLayoutMkLst>
            <pc:docMk/>
            <pc:sldMasterMk cId="31158695" sldId="2147483765"/>
            <pc:sldLayoutMk cId="3456633064" sldId="2147483740"/>
          </pc:sldLayoutMkLst>
          <pc:picChg chg="del">
            <ac:chgData name="Hans Gelissen (DHL SSC Maastricht)" userId="1afa8510-4eed-4b73-a29e-678838cd8acd" providerId="ADAL" clId="{8A350684-7764-4507-9138-96ED9B87A59E}" dt="2023-03-13T13:01:53.674" v="245" actId="478"/>
            <ac:picMkLst>
              <pc:docMk/>
              <pc:sldMasterMk cId="31158695" sldId="2147483765"/>
              <pc:sldLayoutMk cId="3456633064" sldId="2147483740"/>
              <ac:picMk id="2" creationId="{00000000-0000-0000-0000-000000000000}"/>
            </ac:picMkLst>
          </pc:picChg>
          <pc:picChg chg="add mod">
            <ac:chgData name="Hans Gelissen (DHL SSC Maastricht)" userId="1afa8510-4eed-4b73-a29e-678838cd8acd" providerId="ADAL" clId="{8A350684-7764-4507-9138-96ED9B87A59E}" dt="2023-03-13T13:01:54.111" v="246"/>
            <ac:picMkLst>
              <pc:docMk/>
              <pc:sldMasterMk cId="31158695" sldId="2147483765"/>
              <pc:sldLayoutMk cId="3456633064" sldId="2147483740"/>
              <ac:picMk id="12" creationId="{0814E762-90C9-4902-873D-9C5CE876CFCF}"/>
            </ac:picMkLst>
          </pc:picChg>
        </pc:sldLayoutChg>
        <pc:sldLayoutChg chg="modSp mod">
          <pc:chgData name="Hans Gelissen (DHL SSC Maastricht)" userId="1afa8510-4eed-4b73-a29e-678838cd8acd" providerId="ADAL" clId="{8A350684-7764-4507-9138-96ED9B87A59E}" dt="2023-03-08T13:52:31.971" v="118" actId="6549"/>
          <pc:sldLayoutMkLst>
            <pc:docMk/>
            <pc:sldMasterMk cId="31158695" sldId="2147483765"/>
            <pc:sldLayoutMk cId="2950485860" sldId="2147483783"/>
          </pc:sldLayoutMkLst>
          <pc:spChg chg="mod">
            <ac:chgData name="Hans Gelissen (DHL SSC Maastricht)" userId="1afa8510-4eed-4b73-a29e-678838cd8acd" providerId="ADAL" clId="{8A350684-7764-4507-9138-96ED9B87A59E}" dt="2023-03-08T13:52:31.971" v="118" actId="6549"/>
            <ac:spMkLst>
              <pc:docMk/>
              <pc:sldMasterMk cId="31158695" sldId="2147483765"/>
              <pc:sldLayoutMk cId="2950485860" sldId="2147483783"/>
              <ac:spMk id="18" creationId="{659C8730-2212-4221-B7B1-839C8C5A890F}"/>
            </ac:spMkLst>
          </pc:spChg>
        </pc:sldLayoutChg>
      </pc:sldMasterChg>
      <pc:sldMasterChg chg="modSldLayout">
        <pc:chgData name="Hans Gelissen (DHL SSC Maastricht)" userId="1afa8510-4eed-4b73-a29e-678838cd8acd" providerId="ADAL" clId="{8A350684-7764-4507-9138-96ED9B87A59E}" dt="2023-03-13T13:58:07.481" v="252" actId="1076"/>
        <pc:sldMasterMkLst>
          <pc:docMk/>
          <pc:sldMasterMk cId="2791372136" sldId="2147483777"/>
        </pc:sldMasterMkLst>
        <pc:sldLayoutChg chg="modSp mod">
          <pc:chgData name="Hans Gelissen (DHL SSC Maastricht)" userId="1afa8510-4eed-4b73-a29e-678838cd8acd" providerId="ADAL" clId="{8A350684-7764-4507-9138-96ED9B87A59E}" dt="2023-03-13T13:58:07.481" v="252" actId="1076"/>
          <pc:sldLayoutMkLst>
            <pc:docMk/>
            <pc:sldMasterMk cId="2791372136" sldId="2147483777"/>
            <pc:sldLayoutMk cId="3829185410" sldId="2147483979"/>
          </pc:sldLayoutMkLst>
          <pc:grpChg chg="mod">
            <ac:chgData name="Hans Gelissen (DHL SSC Maastricht)" userId="1afa8510-4eed-4b73-a29e-678838cd8acd" providerId="ADAL" clId="{8A350684-7764-4507-9138-96ED9B87A59E}" dt="2023-03-13T13:58:07.481" v="252" actId="1076"/>
            <ac:grpSpMkLst>
              <pc:docMk/>
              <pc:sldMasterMk cId="2791372136" sldId="2147483777"/>
              <pc:sldLayoutMk cId="3829185410" sldId="2147483979"/>
              <ac:grpSpMk id="8" creationId="{6A47A10B-ABB4-4293-AF81-5FA27A13750C}"/>
            </ac:grpSpMkLst>
          </pc:grpChg>
        </pc:sldLayoutChg>
      </pc:sldMasterChg>
      <pc:sldMasterChg chg="modSldLayout sldLayoutOrd">
        <pc:chgData name="Hans Gelissen (DHL SSC Maastricht)" userId="1afa8510-4eed-4b73-a29e-678838cd8acd" providerId="ADAL" clId="{8A350684-7764-4507-9138-96ED9B87A59E}" dt="2023-03-14T09:43:42.488" v="257" actId="2711"/>
        <pc:sldMasterMkLst>
          <pc:docMk/>
          <pc:sldMasterMk cId="1868986140" sldId="2147483797"/>
        </pc:sldMasterMkLst>
        <pc:sldLayoutChg chg="modSp mod ord">
          <pc:chgData name="Hans Gelissen (DHL SSC Maastricht)" userId="1afa8510-4eed-4b73-a29e-678838cd8acd" providerId="ADAL" clId="{8A350684-7764-4507-9138-96ED9B87A59E}" dt="2023-03-08T14:08:33.060" v="125" actId="20578"/>
          <pc:sldLayoutMkLst>
            <pc:docMk/>
            <pc:sldMasterMk cId="1868986140" sldId="2147483797"/>
            <pc:sldLayoutMk cId="685959609" sldId="2147483816"/>
          </pc:sldLayoutMkLst>
          <pc:spChg chg="mod">
            <ac:chgData name="Hans Gelissen (DHL SSC Maastricht)" userId="1afa8510-4eed-4b73-a29e-678838cd8acd" providerId="ADAL" clId="{8A350684-7764-4507-9138-96ED9B87A59E}" dt="2023-03-08T14:08:33.060" v="125" actId="20578"/>
            <ac:spMkLst>
              <pc:docMk/>
              <pc:sldMasterMk cId="1868986140" sldId="2147483797"/>
              <pc:sldLayoutMk cId="685959609" sldId="2147483816"/>
              <ac:spMk id="16" creationId="{C1D2AD36-65F1-4F18-A422-601C53B20FD1}"/>
            </ac:spMkLst>
          </pc:spChg>
        </pc:sldLayoutChg>
        <pc:sldLayoutChg chg="modSp mod">
          <pc:chgData name="Hans Gelissen (DHL SSC Maastricht)" userId="1afa8510-4eed-4b73-a29e-678838cd8acd" providerId="ADAL" clId="{8A350684-7764-4507-9138-96ED9B87A59E}" dt="2023-03-14T09:43:21.648" v="254" actId="2711"/>
          <pc:sldLayoutMkLst>
            <pc:docMk/>
            <pc:sldMasterMk cId="1868986140" sldId="2147483797"/>
            <pc:sldLayoutMk cId="1943396673" sldId="2147483817"/>
          </pc:sldLayoutMkLst>
          <pc:spChg chg="mod">
            <ac:chgData name="Hans Gelissen (DHL SSC Maastricht)" userId="1afa8510-4eed-4b73-a29e-678838cd8acd" providerId="ADAL" clId="{8A350684-7764-4507-9138-96ED9B87A59E}" dt="2023-03-14T09:43:21.648" v="254" actId="2711"/>
            <ac:spMkLst>
              <pc:docMk/>
              <pc:sldMasterMk cId="1868986140" sldId="2147483797"/>
              <pc:sldLayoutMk cId="1943396673" sldId="2147483817"/>
              <ac:spMk id="18" creationId="{87DC52E1-61B4-41C6-9C1B-78B53F41A182}"/>
            </ac:spMkLst>
          </pc:spChg>
          <pc:spChg chg="mod">
            <ac:chgData name="Hans Gelissen (DHL SSC Maastricht)" userId="1afa8510-4eed-4b73-a29e-678838cd8acd" providerId="ADAL" clId="{8A350684-7764-4507-9138-96ED9B87A59E}" dt="2023-03-14T09:43:21.648" v="254" actId="2711"/>
            <ac:spMkLst>
              <pc:docMk/>
              <pc:sldMasterMk cId="1868986140" sldId="2147483797"/>
              <pc:sldLayoutMk cId="1943396673" sldId="2147483817"/>
              <ac:spMk id="22" creationId="{5D33661A-E879-4955-BAB9-AA7B3C955E42}"/>
            </ac:spMkLst>
          </pc:spChg>
          <pc:spChg chg="mod">
            <ac:chgData name="Hans Gelissen (DHL SSC Maastricht)" userId="1afa8510-4eed-4b73-a29e-678838cd8acd" providerId="ADAL" clId="{8A350684-7764-4507-9138-96ED9B87A59E}" dt="2023-03-14T09:43:21.648" v="254" actId="2711"/>
            <ac:spMkLst>
              <pc:docMk/>
              <pc:sldMasterMk cId="1868986140" sldId="2147483797"/>
              <pc:sldLayoutMk cId="1943396673" sldId="2147483817"/>
              <ac:spMk id="23" creationId="{694DBE2C-2418-448B-A0C4-52EECB64EBA6}"/>
            </ac:spMkLst>
          </pc:spChg>
        </pc:sldLayoutChg>
        <pc:sldLayoutChg chg="modSp mod ord">
          <pc:chgData name="Hans Gelissen (DHL SSC Maastricht)" userId="1afa8510-4eed-4b73-a29e-678838cd8acd" providerId="ADAL" clId="{8A350684-7764-4507-9138-96ED9B87A59E}" dt="2023-03-14T09:43:42.488" v="257" actId="2711"/>
          <pc:sldLayoutMkLst>
            <pc:docMk/>
            <pc:sldMasterMk cId="1868986140" sldId="2147483797"/>
            <pc:sldLayoutMk cId="2070522211" sldId="2147483819"/>
          </pc:sldLayoutMkLst>
          <pc:spChg chg="mod">
            <ac:chgData name="Hans Gelissen (DHL SSC Maastricht)" userId="1afa8510-4eed-4b73-a29e-678838cd8acd" providerId="ADAL" clId="{8A350684-7764-4507-9138-96ED9B87A59E}" dt="2023-03-14T09:43:32.662" v="256" actId="1076"/>
            <ac:spMkLst>
              <pc:docMk/>
              <pc:sldMasterMk cId="1868986140" sldId="2147483797"/>
              <pc:sldLayoutMk cId="2070522211" sldId="2147483819"/>
              <ac:spMk id="3" creationId="{8CCBF2A2-4A94-4167-B811-76A9071CFD5E}"/>
            </ac:spMkLst>
          </pc:spChg>
          <pc:spChg chg="mod">
            <ac:chgData name="Hans Gelissen (DHL SSC Maastricht)" userId="1afa8510-4eed-4b73-a29e-678838cd8acd" providerId="ADAL" clId="{8A350684-7764-4507-9138-96ED9B87A59E}" dt="2023-03-14T09:43:42.488" v="257" actId="2711"/>
            <ac:spMkLst>
              <pc:docMk/>
              <pc:sldMasterMk cId="1868986140" sldId="2147483797"/>
              <pc:sldLayoutMk cId="2070522211" sldId="2147483819"/>
              <ac:spMk id="18" creationId="{87DC52E1-61B4-41C6-9C1B-78B53F41A182}"/>
            </ac:spMkLst>
          </pc:spChg>
          <pc:spChg chg="mod">
            <ac:chgData name="Hans Gelissen (DHL SSC Maastricht)" userId="1afa8510-4eed-4b73-a29e-678838cd8acd" providerId="ADAL" clId="{8A350684-7764-4507-9138-96ED9B87A59E}" dt="2023-03-14T09:43:30.911" v="255" actId="2711"/>
            <ac:spMkLst>
              <pc:docMk/>
              <pc:sldMasterMk cId="1868986140" sldId="2147483797"/>
              <pc:sldLayoutMk cId="2070522211" sldId="2147483819"/>
              <ac:spMk id="22" creationId="{5D33661A-E879-4955-BAB9-AA7B3C955E42}"/>
            </ac:spMkLst>
          </pc:spChg>
          <pc:spChg chg="mod">
            <ac:chgData name="Hans Gelissen (DHL SSC Maastricht)" userId="1afa8510-4eed-4b73-a29e-678838cd8acd" providerId="ADAL" clId="{8A350684-7764-4507-9138-96ED9B87A59E}" dt="2023-03-14T09:43:30.911" v="255" actId="2711"/>
            <ac:spMkLst>
              <pc:docMk/>
              <pc:sldMasterMk cId="1868986140" sldId="2147483797"/>
              <pc:sldLayoutMk cId="2070522211" sldId="2147483819"/>
              <ac:spMk id="23" creationId="{694DBE2C-2418-448B-A0C4-52EECB64EBA6}"/>
            </ac:spMkLst>
          </pc:spChg>
        </pc:sldLayoutChg>
        <pc:sldLayoutChg chg="addSp delSp modSp mod">
          <pc:chgData name="Hans Gelissen (DHL SSC Maastricht)" userId="1afa8510-4eed-4b73-a29e-678838cd8acd" providerId="ADAL" clId="{8A350684-7764-4507-9138-96ED9B87A59E}" dt="2023-03-08T14:11:10.171" v="142" actId="21"/>
          <pc:sldLayoutMkLst>
            <pc:docMk/>
            <pc:sldMasterMk cId="1868986140" sldId="2147483797"/>
            <pc:sldLayoutMk cId="3526513862" sldId="2147483822"/>
          </pc:sldLayoutMkLst>
          <pc:spChg chg="add del">
            <ac:chgData name="Hans Gelissen (DHL SSC Maastricht)" userId="1afa8510-4eed-4b73-a29e-678838cd8acd" providerId="ADAL" clId="{8A350684-7764-4507-9138-96ED9B87A59E}" dt="2023-03-08T14:11:05.618" v="140" actId="11529"/>
            <ac:spMkLst>
              <pc:docMk/>
              <pc:sldMasterMk cId="1868986140" sldId="2147483797"/>
              <pc:sldLayoutMk cId="3526513862" sldId="2147483822"/>
              <ac:spMk id="2" creationId="{6E3DAAD2-2CFA-4108-9E90-072666AF6F5D}"/>
            </ac:spMkLst>
          </pc:spChg>
          <pc:spChg chg="add del mod">
            <ac:chgData name="Hans Gelissen (DHL SSC Maastricht)" userId="1afa8510-4eed-4b73-a29e-678838cd8acd" providerId="ADAL" clId="{8A350684-7764-4507-9138-96ED9B87A59E}" dt="2023-03-08T14:11:05.618" v="140" actId="11529"/>
            <ac:spMkLst>
              <pc:docMk/>
              <pc:sldMasterMk cId="1868986140" sldId="2147483797"/>
              <pc:sldLayoutMk cId="3526513862" sldId="2147483822"/>
              <ac:spMk id="3" creationId="{298814BE-579B-48F4-988A-8F1FAD276FFC}"/>
            </ac:spMkLst>
          </pc:spChg>
          <pc:picChg chg="add del mod">
            <ac:chgData name="Hans Gelissen (DHL SSC Maastricht)" userId="1afa8510-4eed-4b73-a29e-678838cd8acd" providerId="ADAL" clId="{8A350684-7764-4507-9138-96ED9B87A59E}" dt="2023-03-08T14:11:10.171" v="142" actId="21"/>
            <ac:picMkLst>
              <pc:docMk/>
              <pc:sldMasterMk cId="1868986140" sldId="2147483797"/>
              <pc:sldLayoutMk cId="3526513862" sldId="2147483822"/>
              <ac:picMk id="18" creationId="{116B38DC-9E10-4F03-A5DC-EA8D75C15E94}"/>
            </ac:picMkLst>
          </pc:picChg>
        </pc:sldLayoutChg>
      </pc:sldMasterChg>
      <pc:sldMasterChg chg="modSldLayout">
        <pc:chgData name="Hans Gelissen (DHL SSC Maastricht)" userId="1afa8510-4eed-4b73-a29e-678838cd8acd" providerId="ADAL" clId="{8A350684-7764-4507-9138-96ED9B87A59E}" dt="2023-03-14T09:42:13.497" v="253" actId="2711"/>
        <pc:sldMasterMkLst>
          <pc:docMk/>
          <pc:sldMasterMk cId="2722686442" sldId="2147484013"/>
        </pc:sldMasterMkLst>
        <pc:sldLayoutChg chg="modSp">
          <pc:chgData name="Hans Gelissen (DHL SSC Maastricht)" userId="1afa8510-4eed-4b73-a29e-678838cd8acd" providerId="ADAL" clId="{8A350684-7764-4507-9138-96ED9B87A59E}" dt="2023-03-14T09:42:13.497" v="253" actId="2711"/>
          <pc:sldLayoutMkLst>
            <pc:docMk/>
            <pc:sldMasterMk cId="2722686442" sldId="2147484013"/>
            <pc:sldLayoutMk cId="2927420278" sldId="2147484014"/>
          </pc:sldLayoutMkLst>
          <pc:spChg chg="mod">
            <ac:chgData name="Hans Gelissen (DHL SSC Maastricht)" userId="1afa8510-4eed-4b73-a29e-678838cd8acd" providerId="ADAL" clId="{8A350684-7764-4507-9138-96ED9B87A59E}" dt="2023-03-14T09:42:13.497" v="253" actId="2711"/>
            <ac:spMkLst>
              <pc:docMk/>
              <pc:sldMasterMk cId="2722686442" sldId="2147484013"/>
              <pc:sldLayoutMk cId="2927420278" sldId="2147484014"/>
              <ac:spMk id="5" creationId="{8D4C9A0D-85D6-4749-99E3-B8A1C8FE8CEF}"/>
            </ac:spMkLst>
          </pc:spChg>
        </pc:sldLayoutChg>
      </pc:sldMasterChg>
      <pc:sldMasterChg chg="delSp new mod addSldLayout delSldLayout modSldLayout sldLayoutOrd">
        <pc:chgData name="Hans Gelissen (DHL SSC Maastricht)" userId="1afa8510-4eed-4b73-a29e-678838cd8acd" providerId="ADAL" clId="{8A350684-7764-4507-9138-96ED9B87A59E}" dt="2023-03-08T14:19:56.303" v="222"/>
        <pc:sldMasterMkLst>
          <pc:docMk/>
          <pc:sldMasterMk cId="2150040083" sldId="2147484015"/>
        </pc:sldMasterMkLst>
        <pc:spChg chg="del">
          <ac:chgData name="Hans Gelissen (DHL SSC Maastricht)" userId="1afa8510-4eed-4b73-a29e-678838cd8acd" providerId="ADAL" clId="{8A350684-7764-4507-9138-96ED9B87A59E}" dt="2023-03-08T13:45:26.880" v="85" actId="478"/>
          <ac:spMkLst>
            <pc:docMk/>
            <pc:sldMasterMk cId="2150040083" sldId="2147484015"/>
            <ac:spMk id="2" creationId="{AD037A6B-5166-45D6-941D-A1A1C3C3AF3E}"/>
          </ac:spMkLst>
        </pc:spChg>
        <pc:spChg chg="del">
          <ac:chgData name="Hans Gelissen (DHL SSC Maastricht)" userId="1afa8510-4eed-4b73-a29e-678838cd8acd" providerId="ADAL" clId="{8A350684-7764-4507-9138-96ED9B87A59E}" dt="2023-03-08T13:45:26.880" v="85" actId="478"/>
          <ac:spMkLst>
            <pc:docMk/>
            <pc:sldMasterMk cId="2150040083" sldId="2147484015"/>
            <ac:spMk id="3" creationId="{594922C0-4C7F-453C-ABCF-B7684D5097FB}"/>
          </ac:spMkLst>
        </pc:spChg>
        <pc:spChg chg="del">
          <ac:chgData name="Hans Gelissen (DHL SSC Maastricht)" userId="1afa8510-4eed-4b73-a29e-678838cd8acd" providerId="ADAL" clId="{8A350684-7764-4507-9138-96ED9B87A59E}" dt="2023-03-08T13:45:26.880" v="85" actId="478"/>
          <ac:spMkLst>
            <pc:docMk/>
            <pc:sldMasterMk cId="2150040083" sldId="2147484015"/>
            <ac:spMk id="4" creationId="{A0A7D087-A5C2-4B3D-B194-6EC0E3C71E52}"/>
          </ac:spMkLst>
        </pc:spChg>
        <pc:spChg chg="del">
          <ac:chgData name="Hans Gelissen (DHL SSC Maastricht)" userId="1afa8510-4eed-4b73-a29e-678838cd8acd" providerId="ADAL" clId="{8A350684-7764-4507-9138-96ED9B87A59E}" dt="2023-03-08T13:45:26.880" v="85" actId="478"/>
          <ac:spMkLst>
            <pc:docMk/>
            <pc:sldMasterMk cId="2150040083" sldId="2147484015"/>
            <ac:spMk id="5" creationId="{A895F003-4844-4077-B6B2-730EE2EB43DC}"/>
          </ac:spMkLst>
        </pc:spChg>
        <pc:spChg chg="del">
          <ac:chgData name="Hans Gelissen (DHL SSC Maastricht)" userId="1afa8510-4eed-4b73-a29e-678838cd8acd" providerId="ADAL" clId="{8A350684-7764-4507-9138-96ED9B87A59E}" dt="2023-03-08T13:45:26.880" v="85" actId="478"/>
          <ac:spMkLst>
            <pc:docMk/>
            <pc:sldMasterMk cId="2150040083" sldId="2147484015"/>
            <ac:spMk id="6" creationId="{EA6A102F-6EFA-438D-BD9E-7810885409E1}"/>
          </ac:spMkLst>
        </pc:spChg>
        <pc:sldLayoutChg chg="modSp mod ord">
          <pc:chgData name="Hans Gelissen (DHL SSC Maastricht)" userId="1afa8510-4eed-4b73-a29e-678838cd8acd" providerId="ADAL" clId="{8A350684-7764-4507-9138-96ED9B87A59E}" dt="2023-03-08T14:08:26.232" v="124" actId="20578"/>
          <pc:sldLayoutMkLst>
            <pc:docMk/>
            <pc:sldMasterMk cId="1868986140" sldId="2147483797"/>
            <pc:sldLayoutMk cId="685959609" sldId="2147483816"/>
          </pc:sldLayoutMkLst>
          <pc:spChg chg="mod">
            <ac:chgData name="Hans Gelissen (DHL SSC Maastricht)" userId="1afa8510-4eed-4b73-a29e-678838cd8acd" providerId="ADAL" clId="{8A350684-7764-4507-9138-96ED9B87A59E}" dt="2023-03-08T14:08:26.232" v="124" actId="20578"/>
            <ac:spMkLst>
              <pc:docMk/>
              <pc:sldMasterMk cId="1868986140" sldId="2147483797"/>
              <pc:sldLayoutMk cId="685959609" sldId="2147483816"/>
              <ac:spMk id="16" creationId="{C1D2AD36-65F1-4F18-A422-601C53B20FD1}"/>
            </ac:spMkLst>
          </pc:spChg>
        </pc:sldLayoutChg>
        <pc:sldLayoutChg chg="new del replId">
          <pc:chgData name="Hans Gelissen (DHL SSC Maastricht)" userId="1afa8510-4eed-4b73-a29e-678838cd8acd" providerId="ADAL" clId="{8A350684-7764-4507-9138-96ED9B87A59E}" dt="2023-03-08T13:45:23.050" v="74" actId="2696"/>
          <pc:sldLayoutMkLst>
            <pc:docMk/>
            <pc:sldMasterMk cId="2150040083" sldId="2147484015"/>
            <pc:sldLayoutMk cId="1959668863" sldId="2147484016"/>
          </pc:sldLayoutMkLst>
        </pc:sldLayoutChg>
        <pc:sldLayoutChg chg="addSp delSp modSp mod">
          <pc:chgData name="Hans Gelissen (DHL SSC Maastricht)" userId="1afa8510-4eed-4b73-a29e-678838cd8acd" providerId="ADAL" clId="{8A350684-7764-4507-9138-96ED9B87A59E}" dt="2023-03-08T14:19:56.303" v="222"/>
          <pc:sldLayoutMkLst>
            <pc:docMk/>
            <pc:sldMasterMk cId="2150040083" sldId="2147484015"/>
            <pc:sldLayoutMk cId="2210235025" sldId="2147484016"/>
          </pc:sldLayoutMkLst>
          <pc:spChg chg="mod">
            <ac:chgData name="Hans Gelissen (DHL SSC Maastricht)" userId="1afa8510-4eed-4b73-a29e-678838cd8acd" providerId="ADAL" clId="{8A350684-7764-4507-9138-96ED9B87A59E}" dt="2023-03-08T13:46:24.177" v="93" actId="20577"/>
            <ac:spMkLst>
              <pc:docMk/>
              <pc:sldMasterMk cId="2150040083" sldId="2147484015"/>
              <pc:sldLayoutMk cId="2210235025" sldId="2147484016"/>
              <ac:spMk id="16" creationId="{C1D2AD36-65F1-4F18-A422-601C53B20FD1}"/>
            </ac:spMkLst>
          </pc:spChg>
          <pc:spChg chg="mod ord">
            <ac:chgData name="Hans Gelissen (DHL SSC Maastricht)" userId="1afa8510-4eed-4b73-a29e-678838cd8acd" providerId="ADAL" clId="{8A350684-7764-4507-9138-96ED9B87A59E}" dt="2023-03-08T14:17:51.483" v="217" actId="166"/>
            <ac:spMkLst>
              <pc:docMk/>
              <pc:sldMasterMk cId="2150040083" sldId="2147484015"/>
              <pc:sldLayoutMk cId="2210235025" sldId="2147484016"/>
              <ac:spMk id="17" creationId="{13A87970-CEE8-456E-B325-EBFE9EF164AF}"/>
            </ac:spMkLst>
          </pc:spChg>
          <pc:spChg chg="mod ord">
            <ac:chgData name="Hans Gelissen (DHL SSC Maastricht)" userId="1afa8510-4eed-4b73-a29e-678838cd8acd" providerId="ADAL" clId="{8A350684-7764-4507-9138-96ED9B87A59E}" dt="2023-03-08T14:17:51.483" v="217" actId="166"/>
            <ac:spMkLst>
              <pc:docMk/>
              <pc:sldMasterMk cId="2150040083" sldId="2147484015"/>
              <pc:sldLayoutMk cId="2210235025" sldId="2147484016"/>
              <ac:spMk id="18" creationId="{893EF8D6-A115-4047-8577-7028A10BA119}"/>
            </ac:spMkLst>
          </pc:spChg>
          <pc:spChg chg="mod ord">
            <ac:chgData name="Hans Gelissen (DHL SSC Maastricht)" userId="1afa8510-4eed-4b73-a29e-678838cd8acd" providerId="ADAL" clId="{8A350684-7764-4507-9138-96ED9B87A59E}" dt="2023-03-08T14:17:51.483" v="217" actId="166"/>
            <ac:spMkLst>
              <pc:docMk/>
              <pc:sldMasterMk cId="2150040083" sldId="2147484015"/>
              <pc:sldLayoutMk cId="2210235025" sldId="2147484016"/>
              <ac:spMk id="20" creationId="{D7BC15F0-306F-41FC-BCBD-E3FB566B1DEF}"/>
            </ac:spMkLst>
          </pc:spChg>
          <pc:spChg chg="del">
            <ac:chgData name="Hans Gelissen (DHL SSC Maastricht)" userId="1afa8510-4eed-4b73-a29e-678838cd8acd" providerId="ADAL" clId="{8A350684-7764-4507-9138-96ED9B87A59E}" dt="2023-03-08T13:46:13.542" v="88" actId="478"/>
            <ac:spMkLst>
              <pc:docMk/>
              <pc:sldMasterMk cId="2150040083" sldId="2147484015"/>
              <pc:sldLayoutMk cId="2210235025" sldId="2147484016"/>
              <ac:spMk id="22" creationId="{93FB3905-AD27-4D1E-996D-309C9BD251C4}"/>
            </ac:spMkLst>
          </pc:spChg>
          <pc:spChg chg="add mod">
            <ac:chgData name="Hans Gelissen (DHL SSC Maastricht)" userId="1afa8510-4eed-4b73-a29e-678838cd8acd" providerId="ADAL" clId="{8A350684-7764-4507-9138-96ED9B87A59E}" dt="2023-03-08T14:14:28.982" v="164" actId="571"/>
            <ac:spMkLst>
              <pc:docMk/>
              <pc:sldMasterMk cId="2150040083" sldId="2147484015"/>
              <pc:sldLayoutMk cId="2210235025" sldId="2147484016"/>
              <ac:spMk id="23" creationId="{55EC288E-235C-4E8A-88B2-E60565410255}"/>
            </ac:spMkLst>
          </pc:spChg>
          <pc:spChg chg="del">
            <ac:chgData name="Hans Gelissen (DHL SSC Maastricht)" userId="1afa8510-4eed-4b73-a29e-678838cd8acd" providerId="ADAL" clId="{8A350684-7764-4507-9138-96ED9B87A59E}" dt="2023-03-08T13:46:09.507" v="87" actId="478"/>
            <ac:spMkLst>
              <pc:docMk/>
              <pc:sldMasterMk cId="2150040083" sldId="2147484015"/>
              <pc:sldLayoutMk cId="2210235025" sldId="2147484016"/>
              <ac:spMk id="24" creationId="{42D19691-22AE-42B3-97A9-E16551576E41}"/>
            </ac:spMkLst>
          </pc:spChg>
          <pc:spChg chg="del">
            <ac:chgData name="Hans Gelissen (DHL SSC Maastricht)" userId="1afa8510-4eed-4b73-a29e-678838cd8acd" providerId="ADAL" clId="{8A350684-7764-4507-9138-96ED9B87A59E}" dt="2023-03-08T13:46:09.507" v="87" actId="478"/>
            <ac:spMkLst>
              <pc:docMk/>
              <pc:sldMasterMk cId="2150040083" sldId="2147484015"/>
              <pc:sldLayoutMk cId="2210235025" sldId="2147484016"/>
              <ac:spMk id="25" creationId="{195FED30-D717-436B-94EF-4EEC137BA630}"/>
            </ac:spMkLst>
          </pc:spChg>
          <pc:spChg chg="del">
            <ac:chgData name="Hans Gelissen (DHL SSC Maastricht)" userId="1afa8510-4eed-4b73-a29e-678838cd8acd" providerId="ADAL" clId="{8A350684-7764-4507-9138-96ED9B87A59E}" dt="2023-03-08T13:46:09.507" v="87" actId="478"/>
            <ac:spMkLst>
              <pc:docMk/>
              <pc:sldMasterMk cId="2150040083" sldId="2147484015"/>
              <pc:sldLayoutMk cId="2210235025" sldId="2147484016"/>
              <ac:spMk id="26" creationId="{051FEFDC-9DA7-4FC1-B7D9-8BB727FF2F80}"/>
            </ac:spMkLst>
          </pc:spChg>
          <pc:spChg chg="mod">
            <ac:chgData name="Hans Gelissen (DHL SSC Maastricht)" userId="1afa8510-4eed-4b73-a29e-678838cd8acd" providerId="ADAL" clId="{8A350684-7764-4507-9138-96ED9B87A59E}" dt="2023-03-08T13:47:49.331" v="116" actId="1076"/>
            <ac:spMkLst>
              <pc:docMk/>
              <pc:sldMasterMk cId="2150040083" sldId="2147484015"/>
              <pc:sldLayoutMk cId="2210235025" sldId="2147484016"/>
              <ac:spMk id="27" creationId="{F87CA176-3BCE-4B88-AE48-244CC10CC53C}"/>
            </ac:spMkLst>
          </pc:spChg>
          <pc:picChg chg="add del mod">
            <ac:chgData name="Hans Gelissen (DHL SSC Maastricht)" userId="1afa8510-4eed-4b73-a29e-678838cd8acd" providerId="ADAL" clId="{8A350684-7764-4507-9138-96ED9B87A59E}" dt="2023-03-08T14:13:48.004" v="156" actId="478"/>
            <ac:picMkLst>
              <pc:docMk/>
              <pc:sldMasterMk cId="2150040083" sldId="2147484015"/>
              <pc:sldLayoutMk cId="2210235025" sldId="2147484016"/>
              <ac:picMk id="3" creationId="{5BA3E8F8-F9EF-45C7-8D8D-E4E7C9F28F38}"/>
            </ac:picMkLst>
          </pc:picChg>
          <pc:picChg chg="mod ord">
            <ac:chgData name="Hans Gelissen (DHL SSC Maastricht)" userId="1afa8510-4eed-4b73-a29e-678838cd8acd" providerId="ADAL" clId="{8A350684-7764-4507-9138-96ED9B87A59E}" dt="2023-03-08T14:18:07.104" v="218" actId="167"/>
            <ac:picMkLst>
              <pc:docMk/>
              <pc:sldMasterMk cId="2150040083" sldId="2147484015"/>
              <pc:sldLayoutMk cId="2210235025" sldId="2147484016"/>
              <ac:picMk id="15" creationId="{0E8ABA0F-D3BB-49B7-B3CD-E87E12E9F402}"/>
            </ac:picMkLst>
          </pc:picChg>
          <pc:picChg chg="add mod ord">
            <ac:chgData name="Hans Gelissen (DHL SSC Maastricht)" userId="1afa8510-4eed-4b73-a29e-678838cd8acd" providerId="ADAL" clId="{8A350684-7764-4507-9138-96ED9B87A59E}" dt="2023-03-08T14:17:51.483" v="217" actId="166"/>
            <ac:picMkLst>
              <pc:docMk/>
              <pc:sldMasterMk cId="2150040083" sldId="2147484015"/>
              <pc:sldLayoutMk cId="2210235025" sldId="2147484016"/>
              <ac:picMk id="21" creationId="{3D2213D4-F05B-41A1-9792-8839EC5019C1}"/>
            </ac:picMkLst>
          </pc:picChg>
          <pc:picChg chg="del">
            <ac:chgData name="Hans Gelissen (DHL SSC Maastricht)" userId="1afa8510-4eed-4b73-a29e-678838cd8acd" providerId="ADAL" clId="{8A350684-7764-4507-9138-96ED9B87A59E}" dt="2023-03-08T13:46:01.244" v="86" actId="478"/>
            <ac:picMkLst>
              <pc:docMk/>
              <pc:sldMasterMk cId="2150040083" sldId="2147484015"/>
              <pc:sldLayoutMk cId="2210235025" sldId="2147484016"/>
              <ac:picMk id="28" creationId="{8A180B2A-BF2D-4FEB-9346-9B7C410B5A5C}"/>
            </ac:picMkLst>
          </pc:picChg>
          <pc:picChg chg="add mod">
            <ac:chgData name="Hans Gelissen (DHL SSC Maastricht)" userId="1afa8510-4eed-4b73-a29e-678838cd8acd" providerId="ADAL" clId="{8A350684-7764-4507-9138-96ED9B87A59E}" dt="2023-03-08T14:19:56.303" v="222"/>
            <ac:picMkLst>
              <pc:docMk/>
              <pc:sldMasterMk cId="2150040083" sldId="2147484015"/>
              <pc:sldLayoutMk cId="2210235025" sldId="2147484016"/>
              <ac:picMk id="1026" creationId="{DD31DB22-34D2-415B-AAF3-98308CE2E561}"/>
            </ac:picMkLst>
          </pc:picChg>
        </pc:sldLayoutChg>
        <pc:sldLayoutChg chg="new del replId">
          <pc:chgData name="Hans Gelissen (DHL SSC Maastricht)" userId="1afa8510-4eed-4b73-a29e-678838cd8acd" providerId="ADAL" clId="{8A350684-7764-4507-9138-96ED9B87A59E}" dt="2023-03-08T13:45:23.066" v="75" actId="2696"/>
          <pc:sldLayoutMkLst>
            <pc:docMk/>
            <pc:sldMasterMk cId="2150040083" sldId="2147484015"/>
            <pc:sldLayoutMk cId="711986706" sldId="2147484017"/>
          </pc:sldLayoutMkLst>
        </pc:sldLayoutChg>
        <pc:sldLayoutChg chg="new del replId">
          <pc:chgData name="Hans Gelissen (DHL SSC Maastricht)" userId="1afa8510-4eed-4b73-a29e-678838cd8acd" providerId="ADAL" clId="{8A350684-7764-4507-9138-96ED9B87A59E}" dt="2023-03-08T13:45:23.076" v="76" actId="2696"/>
          <pc:sldLayoutMkLst>
            <pc:docMk/>
            <pc:sldMasterMk cId="2150040083" sldId="2147484015"/>
            <pc:sldLayoutMk cId="4020324160" sldId="2147484018"/>
          </pc:sldLayoutMkLst>
        </pc:sldLayoutChg>
        <pc:sldLayoutChg chg="new del replId">
          <pc:chgData name="Hans Gelissen (DHL SSC Maastricht)" userId="1afa8510-4eed-4b73-a29e-678838cd8acd" providerId="ADAL" clId="{8A350684-7764-4507-9138-96ED9B87A59E}" dt="2023-03-08T13:45:23.091" v="77" actId="2696"/>
          <pc:sldLayoutMkLst>
            <pc:docMk/>
            <pc:sldMasterMk cId="2150040083" sldId="2147484015"/>
            <pc:sldLayoutMk cId="4029548526" sldId="2147484019"/>
          </pc:sldLayoutMkLst>
        </pc:sldLayoutChg>
        <pc:sldLayoutChg chg="new del replId">
          <pc:chgData name="Hans Gelissen (DHL SSC Maastricht)" userId="1afa8510-4eed-4b73-a29e-678838cd8acd" providerId="ADAL" clId="{8A350684-7764-4507-9138-96ED9B87A59E}" dt="2023-03-08T13:45:23.110" v="78" actId="2696"/>
          <pc:sldLayoutMkLst>
            <pc:docMk/>
            <pc:sldMasterMk cId="2150040083" sldId="2147484015"/>
            <pc:sldLayoutMk cId="3881247662" sldId="2147484020"/>
          </pc:sldLayoutMkLst>
        </pc:sldLayoutChg>
        <pc:sldLayoutChg chg="new del replId">
          <pc:chgData name="Hans Gelissen (DHL SSC Maastricht)" userId="1afa8510-4eed-4b73-a29e-678838cd8acd" providerId="ADAL" clId="{8A350684-7764-4507-9138-96ED9B87A59E}" dt="2023-03-08T13:45:23.125" v="79" actId="2696"/>
          <pc:sldLayoutMkLst>
            <pc:docMk/>
            <pc:sldMasterMk cId="2150040083" sldId="2147484015"/>
            <pc:sldLayoutMk cId="1131240510" sldId="2147484021"/>
          </pc:sldLayoutMkLst>
        </pc:sldLayoutChg>
        <pc:sldLayoutChg chg="new del replId">
          <pc:chgData name="Hans Gelissen (DHL SSC Maastricht)" userId="1afa8510-4eed-4b73-a29e-678838cd8acd" providerId="ADAL" clId="{8A350684-7764-4507-9138-96ED9B87A59E}" dt="2023-03-08T13:45:23.138" v="80" actId="2696"/>
          <pc:sldLayoutMkLst>
            <pc:docMk/>
            <pc:sldMasterMk cId="2150040083" sldId="2147484015"/>
            <pc:sldLayoutMk cId="741776194" sldId="2147484022"/>
          </pc:sldLayoutMkLst>
        </pc:sldLayoutChg>
        <pc:sldLayoutChg chg="new del replId">
          <pc:chgData name="Hans Gelissen (DHL SSC Maastricht)" userId="1afa8510-4eed-4b73-a29e-678838cd8acd" providerId="ADAL" clId="{8A350684-7764-4507-9138-96ED9B87A59E}" dt="2023-03-08T13:45:23.155" v="81" actId="2696"/>
          <pc:sldLayoutMkLst>
            <pc:docMk/>
            <pc:sldMasterMk cId="2150040083" sldId="2147484015"/>
            <pc:sldLayoutMk cId="1749183020" sldId="2147484023"/>
          </pc:sldLayoutMkLst>
        </pc:sldLayoutChg>
        <pc:sldLayoutChg chg="new del replId">
          <pc:chgData name="Hans Gelissen (DHL SSC Maastricht)" userId="1afa8510-4eed-4b73-a29e-678838cd8acd" providerId="ADAL" clId="{8A350684-7764-4507-9138-96ED9B87A59E}" dt="2023-03-08T13:45:23.170" v="82" actId="2696"/>
          <pc:sldLayoutMkLst>
            <pc:docMk/>
            <pc:sldMasterMk cId="2150040083" sldId="2147484015"/>
            <pc:sldLayoutMk cId="273977519" sldId="2147484024"/>
          </pc:sldLayoutMkLst>
        </pc:sldLayoutChg>
        <pc:sldLayoutChg chg="new del replId">
          <pc:chgData name="Hans Gelissen (DHL SSC Maastricht)" userId="1afa8510-4eed-4b73-a29e-678838cd8acd" providerId="ADAL" clId="{8A350684-7764-4507-9138-96ED9B87A59E}" dt="2023-03-08T13:45:23.185" v="83" actId="2696"/>
          <pc:sldLayoutMkLst>
            <pc:docMk/>
            <pc:sldMasterMk cId="2150040083" sldId="2147484015"/>
            <pc:sldLayoutMk cId="2517704002" sldId="2147484025"/>
          </pc:sldLayoutMkLst>
        </pc:sldLayoutChg>
        <pc:sldLayoutChg chg="new del replId">
          <pc:chgData name="Hans Gelissen (DHL SSC Maastricht)" userId="1afa8510-4eed-4b73-a29e-678838cd8acd" providerId="ADAL" clId="{8A350684-7764-4507-9138-96ED9B87A59E}" dt="2023-03-08T13:45:23.203" v="84" actId="2696"/>
          <pc:sldLayoutMkLst>
            <pc:docMk/>
            <pc:sldMasterMk cId="2150040083" sldId="2147484015"/>
            <pc:sldLayoutMk cId="2437542447" sldId="2147484026"/>
          </pc:sldLayoutMkLst>
        </pc:sldLayoutChg>
      </pc:sldMasterChg>
    </pc:docChg>
  </pc:docChgLst>
  <pc:docChgLst>
    <pc:chgData name="Bente De Rijke (DHL SSC Maastricht)" userId="475646eb-b23c-43c0-b2ae-71e1fde9b74e" providerId="ADAL" clId="{4F611872-AC83-4F44-B89C-11D46A80D424}"/>
    <pc:docChg chg="modSld">
      <pc:chgData name="Bente De Rijke (DHL SSC Maastricht)" userId="475646eb-b23c-43c0-b2ae-71e1fde9b74e" providerId="ADAL" clId="{4F611872-AC83-4F44-B89C-11D46A80D424}" dt="2023-07-14T16:54:05.750" v="9" actId="1035"/>
      <pc:docMkLst>
        <pc:docMk/>
      </pc:docMkLst>
      <pc:sldChg chg="addSp modSp mod">
        <pc:chgData name="Bente De Rijke (DHL SSC Maastricht)" userId="475646eb-b23c-43c0-b2ae-71e1fde9b74e" providerId="ADAL" clId="{4F611872-AC83-4F44-B89C-11D46A80D424}" dt="2023-07-14T16:54:05.750" v="9" actId="1035"/>
        <pc:sldMkLst>
          <pc:docMk/>
          <pc:sldMk cId="1816306719" sldId="300"/>
        </pc:sldMkLst>
        <pc:spChg chg="add mod">
          <ac:chgData name="Bente De Rijke (DHL SSC Maastricht)" userId="475646eb-b23c-43c0-b2ae-71e1fde9b74e" providerId="ADAL" clId="{4F611872-AC83-4F44-B89C-11D46A80D424}" dt="2023-07-14T16:54:05.750" v="9" actId="1035"/>
          <ac:spMkLst>
            <pc:docMk/>
            <pc:sldMk cId="1816306719" sldId="300"/>
            <ac:spMk id="2" creationId="{FA56C454-AD0B-04EA-142F-2820DAEB4DB8}"/>
          </ac:spMkLst>
        </pc:spChg>
      </pc:sldChg>
    </pc:docChg>
  </pc:docChgLst>
  <pc:docChgLst>
    <pc:chgData name="Hans Gelissen (DHL SSC Maastricht)" userId="1afa8510-4eed-4b73-a29e-678838cd8acd" providerId="ADAL" clId="{A12E206A-4C27-49C9-9C65-03FB9E0A52A0}"/>
    <pc:docChg chg="undo custSel delSld modSld modMainMaster">
      <pc:chgData name="Hans Gelissen (DHL SSC Maastricht)" userId="1afa8510-4eed-4b73-a29e-678838cd8acd" providerId="ADAL" clId="{A12E206A-4C27-49C9-9C65-03FB9E0A52A0}" dt="2023-04-28T10:13:42.945" v="353" actId="2696"/>
      <pc:docMkLst>
        <pc:docMk/>
      </pc:docMkLst>
      <pc:sldChg chg="addSp delSp modSp del mod modClrScheme chgLayout">
        <pc:chgData name="Hans Gelissen (DHL SSC Maastricht)" userId="1afa8510-4eed-4b73-a29e-678838cd8acd" providerId="ADAL" clId="{A12E206A-4C27-49C9-9C65-03FB9E0A52A0}" dt="2023-04-28T10:13:35.274" v="352" actId="47"/>
        <pc:sldMkLst>
          <pc:docMk/>
          <pc:sldMk cId="2219543139" sldId="284"/>
        </pc:sldMkLst>
        <pc:spChg chg="add del mod">
          <ac:chgData name="Hans Gelissen (DHL SSC Maastricht)" userId="1afa8510-4eed-4b73-a29e-678838cd8acd" providerId="ADAL" clId="{A12E206A-4C27-49C9-9C65-03FB9E0A52A0}" dt="2023-04-28T10:07:43.586" v="348" actId="478"/>
          <ac:spMkLst>
            <pc:docMk/>
            <pc:sldMk cId="2219543139" sldId="284"/>
            <ac:spMk id="2" creationId="{2C38CD9D-95F7-22A9-331C-B4E7A08E71F8}"/>
          </ac:spMkLst>
        </pc:spChg>
        <pc:spChg chg="add mod">
          <ac:chgData name="Hans Gelissen (DHL SSC Maastricht)" userId="1afa8510-4eed-4b73-a29e-678838cd8acd" providerId="ADAL" clId="{A12E206A-4C27-49C9-9C65-03FB9E0A52A0}" dt="2023-04-28T10:08:26.801" v="351" actId="14100"/>
          <ac:spMkLst>
            <pc:docMk/>
            <pc:sldMk cId="2219543139" sldId="284"/>
            <ac:spMk id="3" creationId="{388D2C0E-54C0-5F2E-6B28-4CC73335A84F}"/>
          </ac:spMkLst>
        </pc:spChg>
        <pc:spChg chg="del">
          <ac:chgData name="Hans Gelissen (DHL SSC Maastricht)" userId="1afa8510-4eed-4b73-a29e-678838cd8acd" providerId="ADAL" clId="{A12E206A-4C27-49C9-9C65-03FB9E0A52A0}" dt="2023-04-28T10:06:05.697" v="341" actId="700"/>
          <ac:spMkLst>
            <pc:docMk/>
            <pc:sldMk cId="2219543139" sldId="284"/>
            <ac:spMk id="23" creationId="{94814C6D-1EBE-4ABC-B738-4D0D4D28108C}"/>
          </ac:spMkLst>
        </pc:spChg>
      </pc:sldChg>
      <pc:sldMasterChg chg="modSldLayout">
        <pc:chgData name="Hans Gelissen (DHL SSC Maastricht)" userId="1afa8510-4eed-4b73-a29e-678838cd8acd" providerId="ADAL" clId="{A12E206A-4C27-49C9-9C65-03FB9E0A52A0}" dt="2023-04-18T10:16:24.701" v="39" actId="478"/>
        <pc:sldMasterMkLst>
          <pc:docMk/>
          <pc:sldMasterMk cId="727954729" sldId="2147483772"/>
        </pc:sldMasterMkLst>
        <pc:sldLayoutChg chg="addSp modSp">
          <pc:chgData name="Hans Gelissen (DHL SSC Maastricht)" userId="1afa8510-4eed-4b73-a29e-678838cd8acd" providerId="ADAL" clId="{A12E206A-4C27-49C9-9C65-03FB9E0A52A0}" dt="2023-04-18T10:14:36.169" v="2"/>
          <pc:sldLayoutMkLst>
            <pc:docMk/>
            <pc:sldMasterMk cId="727954729" sldId="2147483772"/>
            <pc:sldLayoutMk cId="1997391794" sldId="2147483734"/>
          </pc:sldLayoutMkLst>
          <pc:spChg chg="add mod">
            <ac:chgData name="Hans Gelissen (DHL SSC Maastricht)" userId="1afa8510-4eed-4b73-a29e-678838cd8acd" providerId="ADAL" clId="{A12E206A-4C27-49C9-9C65-03FB9E0A52A0}" dt="2023-04-18T10:14:36.169" v="2"/>
            <ac:spMkLst>
              <pc:docMk/>
              <pc:sldMasterMk cId="727954729" sldId="2147483772"/>
              <pc:sldLayoutMk cId="1997391794" sldId="2147483734"/>
              <ac:spMk id="2" creationId="{CD65B6EF-40AB-0848-A310-F92F5854F7E7}"/>
            </ac:spMkLst>
          </pc:spChg>
          <pc:spChg chg="add mod">
            <ac:chgData name="Hans Gelissen (DHL SSC Maastricht)" userId="1afa8510-4eed-4b73-a29e-678838cd8acd" providerId="ADAL" clId="{A12E206A-4C27-49C9-9C65-03FB9E0A52A0}" dt="2023-04-18T10:14:36.169" v="2"/>
            <ac:spMkLst>
              <pc:docMk/>
              <pc:sldMasterMk cId="727954729" sldId="2147483772"/>
              <pc:sldLayoutMk cId="1997391794" sldId="2147483734"/>
              <ac:spMk id="3" creationId="{5B73281A-F13D-4ACD-E808-457C8297DE5D}"/>
            </ac:spMkLst>
          </pc:spChg>
        </pc:sldLayoutChg>
        <pc:sldLayoutChg chg="addSp modSp">
          <pc:chgData name="Hans Gelissen (DHL SSC Maastricht)" userId="1afa8510-4eed-4b73-a29e-678838cd8acd" providerId="ADAL" clId="{A12E206A-4C27-49C9-9C65-03FB9E0A52A0}" dt="2023-04-18T10:14:37.002" v="3"/>
          <pc:sldLayoutMkLst>
            <pc:docMk/>
            <pc:sldMasterMk cId="727954729" sldId="2147483772"/>
            <pc:sldLayoutMk cId="3070187357" sldId="2147483773"/>
          </pc:sldLayoutMkLst>
          <pc:spChg chg="add mod">
            <ac:chgData name="Hans Gelissen (DHL SSC Maastricht)" userId="1afa8510-4eed-4b73-a29e-678838cd8acd" providerId="ADAL" clId="{A12E206A-4C27-49C9-9C65-03FB9E0A52A0}" dt="2023-04-18T10:14:37.002" v="3"/>
            <ac:spMkLst>
              <pc:docMk/>
              <pc:sldMasterMk cId="727954729" sldId="2147483772"/>
              <pc:sldLayoutMk cId="3070187357" sldId="2147483773"/>
              <ac:spMk id="2" creationId="{51863DD1-61D7-A8C0-4743-A27221093B2B}"/>
            </ac:spMkLst>
          </pc:spChg>
          <pc:spChg chg="add mod">
            <ac:chgData name="Hans Gelissen (DHL SSC Maastricht)" userId="1afa8510-4eed-4b73-a29e-678838cd8acd" providerId="ADAL" clId="{A12E206A-4C27-49C9-9C65-03FB9E0A52A0}" dt="2023-04-18T10:14:37.002" v="3"/>
            <ac:spMkLst>
              <pc:docMk/>
              <pc:sldMasterMk cId="727954729" sldId="2147483772"/>
              <pc:sldLayoutMk cId="3070187357" sldId="2147483773"/>
              <ac:spMk id="3" creationId="{6C592046-1FC5-5131-BA70-2DFA7B9AC80E}"/>
            </ac:spMkLst>
          </pc:spChg>
        </pc:sldLayoutChg>
        <pc:sldLayoutChg chg="addSp modSp">
          <pc:chgData name="Hans Gelissen (DHL SSC Maastricht)" userId="1afa8510-4eed-4b73-a29e-678838cd8acd" providerId="ADAL" clId="{A12E206A-4C27-49C9-9C65-03FB9E0A52A0}" dt="2023-04-18T10:14:37.585" v="4"/>
          <pc:sldLayoutMkLst>
            <pc:docMk/>
            <pc:sldMasterMk cId="727954729" sldId="2147483772"/>
            <pc:sldLayoutMk cId="2597155215" sldId="2147483774"/>
          </pc:sldLayoutMkLst>
          <pc:spChg chg="add mod">
            <ac:chgData name="Hans Gelissen (DHL SSC Maastricht)" userId="1afa8510-4eed-4b73-a29e-678838cd8acd" providerId="ADAL" clId="{A12E206A-4C27-49C9-9C65-03FB9E0A52A0}" dt="2023-04-18T10:14:37.585" v="4"/>
            <ac:spMkLst>
              <pc:docMk/>
              <pc:sldMasterMk cId="727954729" sldId="2147483772"/>
              <pc:sldLayoutMk cId="2597155215" sldId="2147483774"/>
              <ac:spMk id="2" creationId="{9E2A2B44-FAD8-7DA3-921C-BD17059B3701}"/>
            </ac:spMkLst>
          </pc:spChg>
          <pc:spChg chg="add mod">
            <ac:chgData name="Hans Gelissen (DHL SSC Maastricht)" userId="1afa8510-4eed-4b73-a29e-678838cd8acd" providerId="ADAL" clId="{A12E206A-4C27-49C9-9C65-03FB9E0A52A0}" dt="2023-04-18T10:14:37.585" v="4"/>
            <ac:spMkLst>
              <pc:docMk/>
              <pc:sldMasterMk cId="727954729" sldId="2147483772"/>
              <pc:sldLayoutMk cId="2597155215" sldId="2147483774"/>
              <ac:spMk id="3" creationId="{21836720-11CF-F9C7-44CF-67C9EA64D7A2}"/>
            </ac:spMkLst>
          </pc:spChg>
        </pc:sldLayoutChg>
        <pc:sldLayoutChg chg="addSp modSp">
          <pc:chgData name="Hans Gelissen (DHL SSC Maastricht)" userId="1afa8510-4eed-4b73-a29e-678838cd8acd" providerId="ADAL" clId="{A12E206A-4C27-49C9-9C65-03FB9E0A52A0}" dt="2023-04-18T10:14:46.944" v="5"/>
          <pc:sldLayoutMkLst>
            <pc:docMk/>
            <pc:sldMasterMk cId="727954729" sldId="2147483772"/>
            <pc:sldLayoutMk cId="1441526566" sldId="2147484017"/>
          </pc:sldLayoutMkLst>
          <pc:spChg chg="add mod">
            <ac:chgData name="Hans Gelissen (DHL SSC Maastricht)" userId="1afa8510-4eed-4b73-a29e-678838cd8acd" providerId="ADAL" clId="{A12E206A-4C27-49C9-9C65-03FB9E0A52A0}" dt="2023-04-18T10:14:46.944" v="5"/>
            <ac:spMkLst>
              <pc:docMk/>
              <pc:sldMasterMk cId="727954729" sldId="2147483772"/>
              <pc:sldLayoutMk cId="1441526566" sldId="2147484017"/>
              <ac:spMk id="2" creationId="{F23EE819-298B-AB96-D0A8-4B5E2EDD87B4}"/>
            </ac:spMkLst>
          </pc:spChg>
        </pc:sldLayoutChg>
        <pc:sldLayoutChg chg="addSp modSp">
          <pc:chgData name="Hans Gelissen (DHL SSC Maastricht)" userId="1afa8510-4eed-4b73-a29e-678838cd8acd" providerId="ADAL" clId="{A12E206A-4C27-49C9-9C65-03FB9E0A52A0}" dt="2023-04-18T10:14:47.831" v="6"/>
          <pc:sldLayoutMkLst>
            <pc:docMk/>
            <pc:sldMasterMk cId="727954729" sldId="2147483772"/>
            <pc:sldLayoutMk cId="3489306472" sldId="2147484018"/>
          </pc:sldLayoutMkLst>
          <pc:spChg chg="add mod">
            <ac:chgData name="Hans Gelissen (DHL SSC Maastricht)" userId="1afa8510-4eed-4b73-a29e-678838cd8acd" providerId="ADAL" clId="{A12E206A-4C27-49C9-9C65-03FB9E0A52A0}" dt="2023-04-18T10:14:47.831" v="6"/>
            <ac:spMkLst>
              <pc:docMk/>
              <pc:sldMasterMk cId="727954729" sldId="2147483772"/>
              <pc:sldLayoutMk cId="3489306472" sldId="2147484018"/>
              <ac:spMk id="2" creationId="{0E3E2DAF-B75F-91AC-D361-C5B4456BAE3A}"/>
            </ac:spMkLst>
          </pc:spChg>
        </pc:sldLayoutChg>
        <pc:sldLayoutChg chg="addSp delSp modSp">
          <pc:chgData name="Hans Gelissen (DHL SSC Maastricht)" userId="1afa8510-4eed-4b73-a29e-678838cd8acd" providerId="ADAL" clId="{A12E206A-4C27-49C9-9C65-03FB9E0A52A0}" dt="2023-04-18T10:15:00.720" v="9"/>
          <pc:sldLayoutMkLst>
            <pc:docMk/>
            <pc:sldMasterMk cId="727954729" sldId="2147483772"/>
            <pc:sldLayoutMk cId="215789223" sldId="2147484019"/>
          </pc:sldLayoutMkLst>
          <pc:spChg chg="add mod">
            <ac:chgData name="Hans Gelissen (DHL SSC Maastricht)" userId="1afa8510-4eed-4b73-a29e-678838cd8acd" providerId="ADAL" clId="{A12E206A-4C27-49C9-9C65-03FB9E0A52A0}" dt="2023-04-18T10:14:49.389" v="7"/>
            <ac:spMkLst>
              <pc:docMk/>
              <pc:sldMasterMk cId="727954729" sldId="2147483772"/>
              <pc:sldLayoutMk cId="215789223" sldId="2147484019"/>
              <ac:spMk id="2" creationId="{F4E573A9-92F0-47BF-FAD3-C6B8BCFBF43D}"/>
            </ac:spMkLst>
          </pc:spChg>
          <pc:spChg chg="add del mod">
            <ac:chgData name="Hans Gelissen (DHL SSC Maastricht)" userId="1afa8510-4eed-4b73-a29e-678838cd8acd" providerId="ADAL" clId="{A12E206A-4C27-49C9-9C65-03FB9E0A52A0}" dt="2023-04-18T10:15:00.720" v="9"/>
            <ac:spMkLst>
              <pc:docMk/>
              <pc:sldMasterMk cId="727954729" sldId="2147483772"/>
              <pc:sldLayoutMk cId="215789223" sldId="2147484019"/>
              <ac:spMk id="3" creationId="{F1C5421A-D0DE-FBFB-8892-FED4DCDA6D18}"/>
            </ac:spMkLst>
          </pc:spChg>
        </pc:sldLayoutChg>
        <pc:sldLayoutChg chg="addSp modSp">
          <pc:chgData name="Hans Gelissen (DHL SSC Maastricht)" userId="1afa8510-4eed-4b73-a29e-678838cd8acd" providerId="ADAL" clId="{A12E206A-4C27-49C9-9C65-03FB9E0A52A0}" dt="2023-04-18T10:15:07.073" v="10"/>
          <pc:sldLayoutMkLst>
            <pc:docMk/>
            <pc:sldMasterMk cId="727954729" sldId="2147483772"/>
            <pc:sldLayoutMk cId="3201581599" sldId="2147484021"/>
          </pc:sldLayoutMkLst>
          <pc:spChg chg="add mod">
            <ac:chgData name="Hans Gelissen (DHL SSC Maastricht)" userId="1afa8510-4eed-4b73-a29e-678838cd8acd" providerId="ADAL" clId="{A12E206A-4C27-49C9-9C65-03FB9E0A52A0}" dt="2023-04-18T10:15:07.073" v="10"/>
            <ac:spMkLst>
              <pc:docMk/>
              <pc:sldMasterMk cId="727954729" sldId="2147483772"/>
              <pc:sldLayoutMk cId="3201581599" sldId="2147484021"/>
              <ac:spMk id="2" creationId="{135530B2-AADB-260C-FAB6-B18813118DA1}"/>
            </ac:spMkLst>
          </pc:spChg>
        </pc:sldLayoutChg>
        <pc:sldLayoutChg chg="addSp modSp">
          <pc:chgData name="Hans Gelissen (DHL SSC Maastricht)" userId="1afa8510-4eed-4b73-a29e-678838cd8acd" providerId="ADAL" clId="{A12E206A-4C27-49C9-9C65-03FB9E0A52A0}" dt="2023-04-18T10:15:18.251" v="11"/>
          <pc:sldLayoutMkLst>
            <pc:docMk/>
            <pc:sldMasterMk cId="727954729" sldId="2147483772"/>
            <pc:sldLayoutMk cId="743163496" sldId="2147484022"/>
          </pc:sldLayoutMkLst>
          <pc:spChg chg="add mod">
            <ac:chgData name="Hans Gelissen (DHL SSC Maastricht)" userId="1afa8510-4eed-4b73-a29e-678838cd8acd" providerId="ADAL" clId="{A12E206A-4C27-49C9-9C65-03FB9E0A52A0}" dt="2023-04-18T10:15:18.251" v="11"/>
            <ac:spMkLst>
              <pc:docMk/>
              <pc:sldMasterMk cId="727954729" sldId="2147483772"/>
              <pc:sldLayoutMk cId="743163496" sldId="2147484022"/>
              <ac:spMk id="2" creationId="{5CFE35A0-167E-F21C-2784-BE2EEEAEE4D9}"/>
            </ac:spMkLst>
          </pc:spChg>
        </pc:sldLayoutChg>
        <pc:sldLayoutChg chg="addSp modSp">
          <pc:chgData name="Hans Gelissen (DHL SSC Maastricht)" userId="1afa8510-4eed-4b73-a29e-678838cd8acd" providerId="ADAL" clId="{A12E206A-4C27-49C9-9C65-03FB9E0A52A0}" dt="2023-04-18T10:15:27.179" v="12"/>
          <pc:sldLayoutMkLst>
            <pc:docMk/>
            <pc:sldMasterMk cId="727954729" sldId="2147483772"/>
            <pc:sldLayoutMk cId="636865668" sldId="2147484023"/>
          </pc:sldLayoutMkLst>
          <pc:spChg chg="add mod">
            <ac:chgData name="Hans Gelissen (DHL SSC Maastricht)" userId="1afa8510-4eed-4b73-a29e-678838cd8acd" providerId="ADAL" clId="{A12E206A-4C27-49C9-9C65-03FB9E0A52A0}" dt="2023-04-18T10:15:27.179" v="12"/>
            <ac:spMkLst>
              <pc:docMk/>
              <pc:sldMasterMk cId="727954729" sldId="2147483772"/>
              <pc:sldLayoutMk cId="636865668" sldId="2147484023"/>
              <ac:spMk id="2" creationId="{80BA1CF4-6F67-7108-9841-5C30CDC7C1C4}"/>
            </ac:spMkLst>
          </pc:spChg>
        </pc:sldLayoutChg>
        <pc:sldLayoutChg chg="addSp modSp">
          <pc:chgData name="Hans Gelissen (DHL SSC Maastricht)" userId="1afa8510-4eed-4b73-a29e-678838cd8acd" providerId="ADAL" clId="{A12E206A-4C27-49C9-9C65-03FB9E0A52A0}" dt="2023-04-18T10:15:35.190" v="13"/>
          <pc:sldLayoutMkLst>
            <pc:docMk/>
            <pc:sldMasterMk cId="727954729" sldId="2147483772"/>
            <pc:sldLayoutMk cId="2943944997" sldId="2147484026"/>
          </pc:sldLayoutMkLst>
          <pc:spChg chg="add mod">
            <ac:chgData name="Hans Gelissen (DHL SSC Maastricht)" userId="1afa8510-4eed-4b73-a29e-678838cd8acd" providerId="ADAL" clId="{A12E206A-4C27-49C9-9C65-03FB9E0A52A0}" dt="2023-04-18T10:15:35.190" v="13"/>
            <ac:spMkLst>
              <pc:docMk/>
              <pc:sldMasterMk cId="727954729" sldId="2147483772"/>
              <pc:sldLayoutMk cId="2943944997" sldId="2147484026"/>
              <ac:spMk id="2" creationId="{1CD8F452-A9A4-90BF-A9D1-44E01C2BF4B1}"/>
            </ac:spMkLst>
          </pc:spChg>
        </pc:sldLayoutChg>
        <pc:sldLayoutChg chg="addSp delSp modSp mod">
          <pc:chgData name="Hans Gelissen (DHL SSC Maastricht)" userId="1afa8510-4eed-4b73-a29e-678838cd8acd" providerId="ADAL" clId="{A12E206A-4C27-49C9-9C65-03FB9E0A52A0}" dt="2023-04-18T10:16:24.701" v="39" actId="478"/>
          <pc:sldLayoutMkLst>
            <pc:docMk/>
            <pc:sldMasterMk cId="727954729" sldId="2147483772"/>
            <pc:sldLayoutMk cId="470324799" sldId="2147484027"/>
          </pc:sldLayoutMkLst>
          <pc:spChg chg="add mod">
            <ac:chgData name="Hans Gelissen (DHL SSC Maastricht)" userId="1afa8510-4eed-4b73-a29e-678838cd8acd" providerId="ADAL" clId="{A12E206A-4C27-49C9-9C65-03FB9E0A52A0}" dt="2023-04-18T10:15:35.981" v="14"/>
            <ac:spMkLst>
              <pc:docMk/>
              <pc:sldMasterMk cId="727954729" sldId="2147483772"/>
              <pc:sldLayoutMk cId="470324799" sldId="2147484027"/>
              <ac:spMk id="2" creationId="{9C22D1EB-BC1E-94BA-C864-34654309C6EE}"/>
            </ac:spMkLst>
          </pc:spChg>
          <pc:spChg chg="add del mod">
            <ac:chgData name="Hans Gelissen (DHL SSC Maastricht)" userId="1afa8510-4eed-4b73-a29e-678838cd8acd" providerId="ADAL" clId="{A12E206A-4C27-49C9-9C65-03FB9E0A52A0}" dt="2023-04-18T10:16:24.701" v="39" actId="478"/>
            <ac:spMkLst>
              <pc:docMk/>
              <pc:sldMasterMk cId="727954729" sldId="2147483772"/>
              <pc:sldLayoutMk cId="470324799" sldId="2147484027"/>
              <ac:spMk id="3" creationId="{00B27409-4F59-E0E9-2BA7-E329B7E4D7DB}"/>
            </ac:spMkLst>
          </pc:spChg>
        </pc:sldLayoutChg>
      </pc:sldMasterChg>
      <pc:sldMasterChg chg="modSldLayout">
        <pc:chgData name="Hans Gelissen (DHL SSC Maastricht)" userId="1afa8510-4eed-4b73-a29e-678838cd8acd" providerId="ADAL" clId="{A12E206A-4C27-49C9-9C65-03FB9E0A52A0}" dt="2023-04-18T10:16:33.006" v="40" actId="478"/>
        <pc:sldMasterMkLst>
          <pc:docMk/>
          <pc:sldMasterMk cId="3687066805" sldId="2147483775"/>
        </pc:sldMasterMkLst>
        <pc:sldLayoutChg chg="addSp modSp">
          <pc:chgData name="Hans Gelissen (DHL SSC Maastricht)" userId="1afa8510-4eed-4b73-a29e-678838cd8acd" providerId="ADAL" clId="{A12E206A-4C27-49C9-9C65-03FB9E0A52A0}" dt="2023-04-18T10:15:47.532" v="17"/>
          <pc:sldLayoutMkLst>
            <pc:docMk/>
            <pc:sldMasterMk cId="3687066805" sldId="2147483775"/>
            <pc:sldLayoutMk cId="680064133" sldId="2147483745"/>
          </pc:sldLayoutMkLst>
          <pc:spChg chg="add mod">
            <ac:chgData name="Hans Gelissen (DHL SSC Maastricht)" userId="1afa8510-4eed-4b73-a29e-678838cd8acd" providerId="ADAL" clId="{A12E206A-4C27-49C9-9C65-03FB9E0A52A0}" dt="2023-04-18T10:15:47.532" v="17"/>
            <ac:spMkLst>
              <pc:docMk/>
              <pc:sldMasterMk cId="3687066805" sldId="2147483775"/>
              <pc:sldLayoutMk cId="680064133" sldId="2147483745"/>
              <ac:spMk id="2" creationId="{B12FB3F9-D1D0-1A34-CE12-B11A86ACDB01}"/>
            </ac:spMkLst>
          </pc:spChg>
        </pc:sldLayoutChg>
        <pc:sldLayoutChg chg="addSp modSp">
          <pc:chgData name="Hans Gelissen (DHL SSC Maastricht)" userId="1afa8510-4eed-4b73-a29e-678838cd8acd" providerId="ADAL" clId="{A12E206A-4C27-49C9-9C65-03FB9E0A52A0}" dt="2023-04-18T10:15:45.449" v="16"/>
          <pc:sldLayoutMkLst>
            <pc:docMk/>
            <pc:sldMasterMk cId="3687066805" sldId="2147483775"/>
            <pc:sldLayoutMk cId="3786456764" sldId="2147483776"/>
          </pc:sldLayoutMkLst>
          <pc:spChg chg="add mod">
            <ac:chgData name="Hans Gelissen (DHL SSC Maastricht)" userId="1afa8510-4eed-4b73-a29e-678838cd8acd" providerId="ADAL" clId="{A12E206A-4C27-49C9-9C65-03FB9E0A52A0}" dt="2023-04-18T10:15:45.449" v="16"/>
            <ac:spMkLst>
              <pc:docMk/>
              <pc:sldMasterMk cId="3687066805" sldId="2147483775"/>
              <pc:sldLayoutMk cId="3786456764" sldId="2147483776"/>
              <ac:spMk id="2" creationId="{6B98B1F1-4889-85B1-FB39-59E2DA3DF0AE}"/>
            </ac:spMkLst>
          </pc:spChg>
        </pc:sldLayoutChg>
        <pc:sldLayoutChg chg="addSp delSp modSp mod">
          <pc:chgData name="Hans Gelissen (DHL SSC Maastricht)" userId="1afa8510-4eed-4b73-a29e-678838cd8acd" providerId="ADAL" clId="{A12E206A-4C27-49C9-9C65-03FB9E0A52A0}" dt="2023-04-18T10:16:33.006" v="40" actId="478"/>
          <pc:sldLayoutMkLst>
            <pc:docMk/>
            <pc:sldMasterMk cId="3687066805" sldId="2147483775"/>
            <pc:sldLayoutMk cId="1267003545" sldId="2147483780"/>
          </pc:sldLayoutMkLst>
          <pc:spChg chg="add mod">
            <ac:chgData name="Hans Gelissen (DHL SSC Maastricht)" userId="1afa8510-4eed-4b73-a29e-678838cd8acd" providerId="ADAL" clId="{A12E206A-4C27-49C9-9C65-03FB9E0A52A0}" dt="2023-04-18T10:16:04.511" v="35"/>
            <ac:spMkLst>
              <pc:docMk/>
              <pc:sldMasterMk cId="3687066805" sldId="2147483775"/>
              <pc:sldLayoutMk cId="1267003545" sldId="2147483780"/>
              <ac:spMk id="2" creationId="{25EE7E56-16BA-D1D3-B124-41F698FA43FB}"/>
            </ac:spMkLst>
          </pc:spChg>
          <pc:spChg chg="add del mod">
            <ac:chgData name="Hans Gelissen (DHL SSC Maastricht)" userId="1afa8510-4eed-4b73-a29e-678838cd8acd" providerId="ADAL" clId="{A12E206A-4C27-49C9-9C65-03FB9E0A52A0}" dt="2023-04-18T10:16:33.006" v="40" actId="478"/>
            <ac:spMkLst>
              <pc:docMk/>
              <pc:sldMasterMk cId="3687066805" sldId="2147483775"/>
              <pc:sldLayoutMk cId="1267003545" sldId="2147483780"/>
              <ac:spMk id="3" creationId="{9310DCB6-639E-05D8-21EF-5E0864CB9E68}"/>
            </ac:spMkLst>
          </pc:spChg>
        </pc:sldLayoutChg>
        <pc:sldLayoutChg chg="addSp modSp">
          <pc:chgData name="Hans Gelissen (DHL SSC Maastricht)" userId="1afa8510-4eed-4b73-a29e-678838cd8acd" providerId="ADAL" clId="{A12E206A-4C27-49C9-9C65-03FB9E0A52A0}" dt="2023-04-18T10:15:50.488" v="18"/>
          <pc:sldLayoutMkLst>
            <pc:docMk/>
            <pc:sldMasterMk cId="3687066805" sldId="2147483775"/>
            <pc:sldLayoutMk cId="1204698674" sldId="2147483781"/>
          </pc:sldLayoutMkLst>
          <pc:spChg chg="add mod">
            <ac:chgData name="Hans Gelissen (DHL SSC Maastricht)" userId="1afa8510-4eed-4b73-a29e-678838cd8acd" providerId="ADAL" clId="{A12E206A-4C27-49C9-9C65-03FB9E0A52A0}" dt="2023-04-18T10:15:50.488" v="18"/>
            <ac:spMkLst>
              <pc:docMk/>
              <pc:sldMasterMk cId="3687066805" sldId="2147483775"/>
              <pc:sldLayoutMk cId="1204698674" sldId="2147483781"/>
              <ac:spMk id="2" creationId="{DE65A6A3-F7CD-BB0C-365E-6F71F25E2621}"/>
            </ac:spMkLst>
          </pc:spChg>
        </pc:sldLayoutChg>
        <pc:sldLayoutChg chg="addSp modSp">
          <pc:chgData name="Hans Gelissen (DHL SSC Maastricht)" userId="1afa8510-4eed-4b73-a29e-678838cd8acd" providerId="ADAL" clId="{A12E206A-4C27-49C9-9C65-03FB9E0A52A0}" dt="2023-04-18T10:15:52.994" v="20"/>
          <pc:sldLayoutMkLst>
            <pc:docMk/>
            <pc:sldMasterMk cId="3687066805" sldId="2147483775"/>
            <pc:sldLayoutMk cId="1596137304" sldId="2147483830"/>
          </pc:sldLayoutMkLst>
          <pc:spChg chg="add mod">
            <ac:chgData name="Hans Gelissen (DHL SSC Maastricht)" userId="1afa8510-4eed-4b73-a29e-678838cd8acd" providerId="ADAL" clId="{A12E206A-4C27-49C9-9C65-03FB9E0A52A0}" dt="2023-04-18T10:15:52.994" v="20"/>
            <ac:spMkLst>
              <pc:docMk/>
              <pc:sldMasterMk cId="3687066805" sldId="2147483775"/>
              <pc:sldLayoutMk cId="1596137304" sldId="2147483830"/>
              <ac:spMk id="2" creationId="{8262C41A-9794-3772-FB7E-F4665A87AC30}"/>
            </ac:spMkLst>
          </pc:spChg>
        </pc:sldLayoutChg>
        <pc:sldLayoutChg chg="addSp modSp">
          <pc:chgData name="Hans Gelissen (DHL SSC Maastricht)" userId="1afa8510-4eed-4b73-a29e-678838cd8acd" providerId="ADAL" clId="{A12E206A-4C27-49C9-9C65-03FB9E0A52A0}" dt="2023-04-18T10:15:53.387" v="21"/>
          <pc:sldLayoutMkLst>
            <pc:docMk/>
            <pc:sldMasterMk cId="3687066805" sldId="2147483775"/>
            <pc:sldLayoutMk cId="2644514963" sldId="2147483831"/>
          </pc:sldLayoutMkLst>
          <pc:spChg chg="add mod">
            <ac:chgData name="Hans Gelissen (DHL SSC Maastricht)" userId="1afa8510-4eed-4b73-a29e-678838cd8acd" providerId="ADAL" clId="{A12E206A-4C27-49C9-9C65-03FB9E0A52A0}" dt="2023-04-18T10:15:53.387" v="21"/>
            <ac:spMkLst>
              <pc:docMk/>
              <pc:sldMasterMk cId="3687066805" sldId="2147483775"/>
              <pc:sldLayoutMk cId="2644514963" sldId="2147483831"/>
              <ac:spMk id="2" creationId="{A8B2DBD2-AF8B-3926-43A0-6292CBA21CF7}"/>
            </ac:spMkLst>
          </pc:spChg>
        </pc:sldLayoutChg>
        <pc:sldLayoutChg chg="addSp modSp">
          <pc:chgData name="Hans Gelissen (DHL SSC Maastricht)" userId="1afa8510-4eed-4b73-a29e-678838cd8acd" providerId="ADAL" clId="{A12E206A-4C27-49C9-9C65-03FB9E0A52A0}" dt="2023-04-18T10:15:53.824" v="22"/>
          <pc:sldLayoutMkLst>
            <pc:docMk/>
            <pc:sldMasterMk cId="3687066805" sldId="2147483775"/>
            <pc:sldLayoutMk cId="4247405665" sldId="2147483832"/>
          </pc:sldLayoutMkLst>
          <pc:spChg chg="add mod">
            <ac:chgData name="Hans Gelissen (DHL SSC Maastricht)" userId="1afa8510-4eed-4b73-a29e-678838cd8acd" providerId="ADAL" clId="{A12E206A-4C27-49C9-9C65-03FB9E0A52A0}" dt="2023-04-18T10:15:53.824" v="22"/>
            <ac:spMkLst>
              <pc:docMk/>
              <pc:sldMasterMk cId="3687066805" sldId="2147483775"/>
              <pc:sldLayoutMk cId="4247405665" sldId="2147483832"/>
              <ac:spMk id="2" creationId="{6713541E-7ACB-022D-159B-FE912B2C7492}"/>
            </ac:spMkLst>
          </pc:spChg>
        </pc:sldLayoutChg>
        <pc:sldLayoutChg chg="addSp modSp">
          <pc:chgData name="Hans Gelissen (DHL SSC Maastricht)" userId="1afa8510-4eed-4b73-a29e-678838cd8acd" providerId="ADAL" clId="{A12E206A-4C27-49C9-9C65-03FB9E0A52A0}" dt="2023-04-18T10:15:52.484" v="19"/>
          <pc:sldLayoutMkLst>
            <pc:docMk/>
            <pc:sldMasterMk cId="3687066805" sldId="2147483775"/>
            <pc:sldLayoutMk cId="662326433" sldId="2147483839"/>
          </pc:sldLayoutMkLst>
          <pc:spChg chg="add mod">
            <ac:chgData name="Hans Gelissen (DHL SSC Maastricht)" userId="1afa8510-4eed-4b73-a29e-678838cd8acd" providerId="ADAL" clId="{A12E206A-4C27-49C9-9C65-03FB9E0A52A0}" dt="2023-04-18T10:15:52.484" v="19"/>
            <ac:spMkLst>
              <pc:docMk/>
              <pc:sldMasterMk cId="3687066805" sldId="2147483775"/>
              <pc:sldLayoutMk cId="662326433" sldId="2147483839"/>
              <ac:spMk id="2" creationId="{E9B4775C-A0B8-C29B-11E8-E71571C2994A}"/>
            </ac:spMkLst>
          </pc:spChg>
        </pc:sldLayoutChg>
        <pc:sldLayoutChg chg="addSp modSp">
          <pc:chgData name="Hans Gelissen (DHL SSC Maastricht)" userId="1afa8510-4eed-4b73-a29e-678838cd8acd" providerId="ADAL" clId="{A12E206A-4C27-49C9-9C65-03FB9E0A52A0}" dt="2023-04-18T10:15:55.905" v="24"/>
          <pc:sldLayoutMkLst>
            <pc:docMk/>
            <pc:sldMasterMk cId="3687066805" sldId="2147483775"/>
            <pc:sldLayoutMk cId="1732030272" sldId="2147483886"/>
          </pc:sldLayoutMkLst>
          <pc:spChg chg="add mod">
            <ac:chgData name="Hans Gelissen (DHL SSC Maastricht)" userId="1afa8510-4eed-4b73-a29e-678838cd8acd" providerId="ADAL" clId="{A12E206A-4C27-49C9-9C65-03FB9E0A52A0}" dt="2023-04-18T10:15:55.905" v="24"/>
            <ac:spMkLst>
              <pc:docMk/>
              <pc:sldMasterMk cId="3687066805" sldId="2147483775"/>
              <pc:sldLayoutMk cId="1732030272" sldId="2147483886"/>
              <ac:spMk id="2" creationId="{975AB962-F00B-895F-1C8C-B88F35E38558}"/>
            </ac:spMkLst>
          </pc:spChg>
        </pc:sldLayoutChg>
        <pc:sldLayoutChg chg="addSp modSp">
          <pc:chgData name="Hans Gelissen (DHL SSC Maastricht)" userId="1afa8510-4eed-4b73-a29e-678838cd8acd" providerId="ADAL" clId="{A12E206A-4C27-49C9-9C65-03FB9E0A52A0}" dt="2023-04-18T10:15:56.207" v="25"/>
          <pc:sldLayoutMkLst>
            <pc:docMk/>
            <pc:sldMasterMk cId="3687066805" sldId="2147483775"/>
            <pc:sldLayoutMk cId="1485632788" sldId="2147483887"/>
          </pc:sldLayoutMkLst>
          <pc:spChg chg="add mod">
            <ac:chgData name="Hans Gelissen (DHL SSC Maastricht)" userId="1afa8510-4eed-4b73-a29e-678838cd8acd" providerId="ADAL" clId="{A12E206A-4C27-49C9-9C65-03FB9E0A52A0}" dt="2023-04-18T10:15:56.207" v="25"/>
            <ac:spMkLst>
              <pc:docMk/>
              <pc:sldMasterMk cId="3687066805" sldId="2147483775"/>
              <pc:sldLayoutMk cId="1485632788" sldId="2147483887"/>
              <ac:spMk id="2" creationId="{80CE9229-F1E0-28A2-16AD-55486750A3D1}"/>
            </ac:spMkLst>
          </pc:spChg>
        </pc:sldLayoutChg>
        <pc:sldLayoutChg chg="addSp modSp">
          <pc:chgData name="Hans Gelissen (DHL SSC Maastricht)" userId="1afa8510-4eed-4b73-a29e-678838cd8acd" providerId="ADAL" clId="{A12E206A-4C27-49C9-9C65-03FB9E0A52A0}" dt="2023-04-18T10:15:56.555" v="26"/>
          <pc:sldLayoutMkLst>
            <pc:docMk/>
            <pc:sldMasterMk cId="3687066805" sldId="2147483775"/>
            <pc:sldLayoutMk cId="221168642" sldId="2147483888"/>
          </pc:sldLayoutMkLst>
          <pc:spChg chg="add mod">
            <ac:chgData name="Hans Gelissen (DHL SSC Maastricht)" userId="1afa8510-4eed-4b73-a29e-678838cd8acd" providerId="ADAL" clId="{A12E206A-4C27-49C9-9C65-03FB9E0A52A0}" dt="2023-04-18T10:15:56.555" v="26"/>
            <ac:spMkLst>
              <pc:docMk/>
              <pc:sldMasterMk cId="3687066805" sldId="2147483775"/>
              <pc:sldLayoutMk cId="221168642" sldId="2147483888"/>
              <ac:spMk id="2" creationId="{19BE6254-4B61-1DF4-E7AB-3F7C43ECCB5D}"/>
            </ac:spMkLst>
          </pc:spChg>
        </pc:sldLayoutChg>
        <pc:sldLayoutChg chg="addSp modSp">
          <pc:chgData name="Hans Gelissen (DHL SSC Maastricht)" userId="1afa8510-4eed-4b73-a29e-678838cd8acd" providerId="ADAL" clId="{A12E206A-4C27-49C9-9C65-03FB9E0A52A0}" dt="2023-04-18T10:15:55.416" v="23"/>
          <pc:sldLayoutMkLst>
            <pc:docMk/>
            <pc:sldMasterMk cId="3687066805" sldId="2147483775"/>
            <pc:sldLayoutMk cId="2337798684" sldId="2147483889"/>
          </pc:sldLayoutMkLst>
          <pc:spChg chg="add mod">
            <ac:chgData name="Hans Gelissen (DHL SSC Maastricht)" userId="1afa8510-4eed-4b73-a29e-678838cd8acd" providerId="ADAL" clId="{A12E206A-4C27-49C9-9C65-03FB9E0A52A0}" dt="2023-04-18T10:15:55.416" v="23"/>
            <ac:spMkLst>
              <pc:docMk/>
              <pc:sldMasterMk cId="3687066805" sldId="2147483775"/>
              <pc:sldLayoutMk cId="2337798684" sldId="2147483889"/>
              <ac:spMk id="2" creationId="{38D523EA-6777-9070-C400-49F313A5B244}"/>
            </ac:spMkLst>
          </pc:spChg>
        </pc:sldLayoutChg>
        <pc:sldLayoutChg chg="addSp modSp">
          <pc:chgData name="Hans Gelissen (DHL SSC Maastricht)" userId="1afa8510-4eed-4b73-a29e-678838cd8acd" providerId="ADAL" clId="{A12E206A-4C27-49C9-9C65-03FB9E0A52A0}" dt="2023-04-18T10:15:56.966" v="27"/>
          <pc:sldLayoutMkLst>
            <pc:docMk/>
            <pc:sldMasterMk cId="3687066805" sldId="2147483775"/>
            <pc:sldLayoutMk cId="2848435218" sldId="2147483947"/>
          </pc:sldLayoutMkLst>
          <pc:spChg chg="add mod">
            <ac:chgData name="Hans Gelissen (DHL SSC Maastricht)" userId="1afa8510-4eed-4b73-a29e-678838cd8acd" providerId="ADAL" clId="{A12E206A-4C27-49C9-9C65-03FB9E0A52A0}" dt="2023-04-18T10:15:56.966" v="27"/>
            <ac:spMkLst>
              <pc:docMk/>
              <pc:sldMasterMk cId="3687066805" sldId="2147483775"/>
              <pc:sldLayoutMk cId="2848435218" sldId="2147483947"/>
              <ac:spMk id="2" creationId="{59CD2144-5116-9F0A-AAA2-AB039B19D2AE}"/>
            </ac:spMkLst>
          </pc:spChg>
        </pc:sldLayoutChg>
        <pc:sldLayoutChg chg="addSp modSp">
          <pc:chgData name="Hans Gelissen (DHL SSC Maastricht)" userId="1afa8510-4eed-4b73-a29e-678838cd8acd" providerId="ADAL" clId="{A12E206A-4C27-49C9-9C65-03FB9E0A52A0}" dt="2023-04-18T10:15:59.324" v="28"/>
          <pc:sldLayoutMkLst>
            <pc:docMk/>
            <pc:sldMasterMk cId="3687066805" sldId="2147483775"/>
            <pc:sldLayoutMk cId="4171373829" sldId="2147483948"/>
          </pc:sldLayoutMkLst>
          <pc:spChg chg="add mod">
            <ac:chgData name="Hans Gelissen (DHL SSC Maastricht)" userId="1afa8510-4eed-4b73-a29e-678838cd8acd" providerId="ADAL" clId="{A12E206A-4C27-49C9-9C65-03FB9E0A52A0}" dt="2023-04-18T10:15:59.324" v="28"/>
            <ac:spMkLst>
              <pc:docMk/>
              <pc:sldMasterMk cId="3687066805" sldId="2147483775"/>
              <pc:sldLayoutMk cId="4171373829" sldId="2147483948"/>
              <ac:spMk id="2" creationId="{3B52B6B6-4D22-C648-26D4-35A6E1967089}"/>
            </ac:spMkLst>
          </pc:spChg>
        </pc:sldLayoutChg>
        <pc:sldLayoutChg chg="addSp modSp">
          <pc:chgData name="Hans Gelissen (DHL SSC Maastricht)" userId="1afa8510-4eed-4b73-a29e-678838cd8acd" providerId="ADAL" clId="{A12E206A-4C27-49C9-9C65-03FB9E0A52A0}" dt="2023-04-18T10:15:59.829" v="29"/>
          <pc:sldLayoutMkLst>
            <pc:docMk/>
            <pc:sldMasterMk cId="3687066805" sldId="2147483775"/>
            <pc:sldLayoutMk cId="705876065" sldId="2147483949"/>
          </pc:sldLayoutMkLst>
          <pc:spChg chg="add mod">
            <ac:chgData name="Hans Gelissen (DHL SSC Maastricht)" userId="1afa8510-4eed-4b73-a29e-678838cd8acd" providerId="ADAL" clId="{A12E206A-4C27-49C9-9C65-03FB9E0A52A0}" dt="2023-04-18T10:15:59.829" v="29"/>
            <ac:spMkLst>
              <pc:docMk/>
              <pc:sldMasterMk cId="3687066805" sldId="2147483775"/>
              <pc:sldLayoutMk cId="705876065" sldId="2147483949"/>
              <ac:spMk id="2" creationId="{8F1C73E6-6A7C-964A-7416-3494B8624151}"/>
            </ac:spMkLst>
          </pc:spChg>
        </pc:sldLayoutChg>
        <pc:sldLayoutChg chg="addSp modSp">
          <pc:chgData name="Hans Gelissen (DHL SSC Maastricht)" userId="1afa8510-4eed-4b73-a29e-678838cd8acd" providerId="ADAL" clId="{A12E206A-4C27-49C9-9C65-03FB9E0A52A0}" dt="2023-04-18T10:16:00.255" v="30"/>
          <pc:sldLayoutMkLst>
            <pc:docMk/>
            <pc:sldMasterMk cId="3687066805" sldId="2147483775"/>
            <pc:sldLayoutMk cId="3404922169" sldId="2147483950"/>
          </pc:sldLayoutMkLst>
          <pc:spChg chg="add mod">
            <ac:chgData name="Hans Gelissen (DHL SSC Maastricht)" userId="1afa8510-4eed-4b73-a29e-678838cd8acd" providerId="ADAL" clId="{A12E206A-4C27-49C9-9C65-03FB9E0A52A0}" dt="2023-04-18T10:16:00.255" v="30"/>
            <ac:spMkLst>
              <pc:docMk/>
              <pc:sldMasterMk cId="3687066805" sldId="2147483775"/>
              <pc:sldLayoutMk cId="3404922169" sldId="2147483950"/>
              <ac:spMk id="2" creationId="{6619BDFC-FBBB-AE65-DDBB-D904272D6A1A}"/>
            </ac:spMkLst>
          </pc:spChg>
        </pc:sldLayoutChg>
        <pc:sldLayoutChg chg="addSp modSp">
          <pc:chgData name="Hans Gelissen (DHL SSC Maastricht)" userId="1afa8510-4eed-4b73-a29e-678838cd8acd" providerId="ADAL" clId="{A12E206A-4C27-49C9-9C65-03FB9E0A52A0}" dt="2023-04-18T10:16:00.801" v="31"/>
          <pc:sldLayoutMkLst>
            <pc:docMk/>
            <pc:sldMasterMk cId="3687066805" sldId="2147483775"/>
            <pc:sldLayoutMk cId="4065184156" sldId="2147483951"/>
          </pc:sldLayoutMkLst>
          <pc:spChg chg="add mod">
            <ac:chgData name="Hans Gelissen (DHL SSC Maastricht)" userId="1afa8510-4eed-4b73-a29e-678838cd8acd" providerId="ADAL" clId="{A12E206A-4C27-49C9-9C65-03FB9E0A52A0}" dt="2023-04-18T10:16:00.801" v="31"/>
            <ac:spMkLst>
              <pc:docMk/>
              <pc:sldMasterMk cId="3687066805" sldId="2147483775"/>
              <pc:sldLayoutMk cId="4065184156" sldId="2147483951"/>
              <ac:spMk id="2" creationId="{22197206-250A-B92B-B423-371C212FF990}"/>
            </ac:spMkLst>
          </pc:spChg>
        </pc:sldLayoutChg>
        <pc:sldLayoutChg chg="addSp modSp">
          <pc:chgData name="Hans Gelissen (DHL SSC Maastricht)" userId="1afa8510-4eed-4b73-a29e-678838cd8acd" providerId="ADAL" clId="{A12E206A-4C27-49C9-9C65-03FB9E0A52A0}" dt="2023-04-18T10:16:02.393" v="32"/>
          <pc:sldLayoutMkLst>
            <pc:docMk/>
            <pc:sldMasterMk cId="3687066805" sldId="2147483775"/>
            <pc:sldLayoutMk cId="3431884773" sldId="2147483952"/>
          </pc:sldLayoutMkLst>
          <pc:spChg chg="add mod">
            <ac:chgData name="Hans Gelissen (DHL SSC Maastricht)" userId="1afa8510-4eed-4b73-a29e-678838cd8acd" providerId="ADAL" clId="{A12E206A-4C27-49C9-9C65-03FB9E0A52A0}" dt="2023-04-18T10:16:02.393" v="32"/>
            <ac:spMkLst>
              <pc:docMk/>
              <pc:sldMasterMk cId="3687066805" sldId="2147483775"/>
              <pc:sldLayoutMk cId="3431884773" sldId="2147483952"/>
              <ac:spMk id="2" creationId="{65A204B3-BD35-F274-B3EA-0F9E29AEF872}"/>
            </ac:spMkLst>
          </pc:spChg>
        </pc:sldLayoutChg>
        <pc:sldLayoutChg chg="addSp modSp">
          <pc:chgData name="Hans Gelissen (DHL SSC Maastricht)" userId="1afa8510-4eed-4b73-a29e-678838cd8acd" providerId="ADAL" clId="{A12E206A-4C27-49C9-9C65-03FB9E0A52A0}" dt="2023-04-18T10:16:02.803" v="33"/>
          <pc:sldLayoutMkLst>
            <pc:docMk/>
            <pc:sldMasterMk cId="3687066805" sldId="2147483775"/>
            <pc:sldLayoutMk cId="3793421954" sldId="2147483953"/>
          </pc:sldLayoutMkLst>
          <pc:spChg chg="add mod">
            <ac:chgData name="Hans Gelissen (DHL SSC Maastricht)" userId="1afa8510-4eed-4b73-a29e-678838cd8acd" providerId="ADAL" clId="{A12E206A-4C27-49C9-9C65-03FB9E0A52A0}" dt="2023-04-18T10:16:02.803" v="33"/>
            <ac:spMkLst>
              <pc:docMk/>
              <pc:sldMasterMk cId="3687066805" sldId="2147483775"/>
              <pc:sldLayoutMk cId="3793421954" sldId="2147483953"/>
              <ac:spMk id="2" creationId="{420F16EF-E8A4-B5B8-FA34-9753C57D0105}"/>
            </ac:spMkLst>
          </pc:spChg>
        </pc:sldLayoutChg>
        <pc:sldLayoutChg chg="addSp modSp">
          <pc:chgData name="Hans Gelissen (DHL SSC Maastricht)" userId="1afa8510-4eed-4b73-a29e-678838cd8acd" providerId="ADAL" clId="{A12E206A-4C27-49C9-9C65-03FB9E0A52A0}" dt="2023-04-18T10:16:03.202" v="34"/>
          <pc:sldLayoutMkLst>
            <pc:docMk/>
            <pc:sldMasterMk cId="3687066805" sldId="2147483775"/>
            <pc:sldLayoutMk cId="3818604797" sldId="2147483954"/>
          </pc:sldLayoutMkLst>
          <pc:spChg chg="add mod">
            <ac:chgData name="Hans Gelissen (DHL SSC Maastricht)" userId="1afa8510-4eed-4b73-a29e-678838cd8acd" providerId="ADAL" clId="{A12E206A-4C27-49C9-9C65-03FB9E0A52A0}" dt="2023-04-18T10:16:03.202" v="34"/>
            <ac:spMkLst>
              <pc:docMk/>
              <pc:sldMasterMk cId="3687066805" sldId="2147483775"/>
              <pc:sldLayoutMk cId="3818604797" sldId="2147483954"/>
              <ac:spMk id="2" creationId="{422C9504-F4C8-8AA1-D2F7-F5CCF69F186F}"/>
            </ac:spMkLst>
          </pc:spChg>
        </pc:sldLayoutChg>
      </pc:sldMasterChg>
      <pc:sldMasterChg chg="addSp delSp modSp modSldLayout">
        <pc:chgData name="Hans Gelissen (DHL SSC Maastricht)" userId="1afa8510-4eed-4b73-a29e-678838cd8acd" providerId="ADAL" clId="{A12E206A-4C27-49C9-9C65-03FB9E0A52A0}" dt="2023-04-18T10:16:49.586" v="60"/>
        <pc:sldMasterMkLst>
          <pc:docMk/>
          <pc:sldMasterMk cId="3009645139" sldId="2147483782"/>
        </pc:sldMasterMkLst>
        <pc:spChg chg="add del mod">
          <ac:chgData name="Hans Gelissen (DHL SSC Maastricht)" userId="1afa8510-4eed-4b73-a29e-678838cd8acd" providerId="ADAL" clId="{A12E206A-4C27-49C9-9C65-03FB9E0A52A0}" dt="2023-04-18T10:16:15.715" v="38"/>
          <ac:spMkLst>
            <pc:docMk/>
            <pc:sldMasterMk cId="3009645139" sldId="2147483782"/>
            <ac:spMk id="2" creationId="{C1D70E2A-B6DB-2C5E-C3A9-F013A607D65D}"/>
          </ac:spMkLst>
        </pc:spChg>
        <pc:sldLayoutChg chg="addSp modSp">
          <pc:chgData name="Hans Gelissen (DHL SSC Maastricht)" userId="1afa8510-4eed-4b73-a29e-678838cd8acd" providerId="ADAL" clId="{A12E206A-4C27-49C9-9C65-03FB9E0A52A0}" dt="2023-04-18T10:16:35.092" v="41"/>
          <pc:sldLayoutMkLst>
            <pc:docMk/>
            <pc:sldMasterMk cId="3009645139" sldId="2147483782"/>
            <pc:sldLayoutMk cId="2048209168" sldId="2147483746"/>
          </pc:sldLayoutMkLst>
          <pc:spChg chg="add mod">
            <ac:chgData name="Hans Gelissen (DHL SSC Maastricht)" userId="1afa8510-4eed-4b73-a29e-678838cd8acd" providerId="ADAL" clId="{A12E206A-4C27-49C9-9C65-03FB9E0A52A0}" dt="2023-04-18T10:16:35.092" v="41"/>
            <ac:spMkLst>
              <pc:docMk/>
              <pc:sldMasterMk cId="3009645139" sldId="2147483782"/>
              <pc:sldLayoutMk cId="2048209168" sldId="2147483746"/>
              <ac:spMk id="2" creationId="{EE5DFE50-C942-53B4-E8A6-495C1347A1FA}"/>
            </ac:spMkLst>
          </pc:spChg>
        </pc:sldLayoutChg>
        <pc:sldLayoutChg chg="addSp modSp">
          <pc:chgData name="Hans Gelissen (DHL SSC Maastricht)" userId="1afa8510-4eed-4b73-a29e-678838cd8acd" providerId="ADAL" clId="{A12E206A-4C27-49C9-9C65-03FB9E0A52A0}" dt="2023-04-18T10:16:40.793" v="47"/>
          <pc:sldLayoutMkLst>
            <pc:docMk/>
            <pc:sldMasterMk cId="3009645139" sldId="2147483782"/>
            <pc:sldLayoutMk cId="648980338" sldId="2147483802"/>
          </pc:sldLayoutMkLst>
          <pc:spChg chg="add mod">
            <ac:chgData name="Hans Gelissen (DHL SSC Maastricht)" userId="1afa8510-4eed-4b73-a29e-678838cd8acd" providerId="ADAL" clId="{A12E206A-4C27-49C9-9C65-03FB9E0A52A0}" dt="2023-04-18T10:16:40.793" v="47"/>
            <ac:spMkLst>
              <pc:docMk/>
              <pc:sldMasterMk cId="3009645139" sldId="2147483782"/>
              <pc:sldLayoutMk cId="648980338" sldId="2147483802"/>
              <ac:spMk id="2" creationId="{58566FFE-B91F-BA9E-37D9-4E8727810823}"/>
            </ac:spMkLst>
          </pc:spChg>
        </pc:sldLayoutChg>
        <pc:sldLayoutChg chg="addSp modSp">
          <pc:chgData name="Hans Gelissen (DHL SSC Maastricht)" userId="1afa8510-4eed-4b73-a29e-678838cd8acd" providerId="ADAL" clId="{A12E206A-4C27-49C9-9C65-03FB9E0A52A0}" dt="2023-04-18T10:16:40.306" v="46"/>
          <pc:sldLayoutMkLst>
            <pc:docMk/>
            <pc:sldMasterMk cId="3009645139" sldId="2147483782"/>
            <pc:sldLayoutMk cId="2005618548" sldId="2147483803"/>
          </pc:sldLayoutMkLst>
          <pc:spChg chg="add mod">
            <ac:chgData name="Hans Gelissen (DHL SSC Maastricht)" userId="1afa8510-4eed-4b73-a29e-678838cd8acd" providerId="ADAL" clId="{A12E206A-4C27-49C9-9C65-03FB9E0A52A0}" dt="2023-04-18T10:16:40.306" v="46"/>
            <ac:spMkLst>
              <pc:docMk/>
              <pc:sldMasterMk cId="3009645139" sldId="2147483782"/>
              <pc:sldLayoutMk cId="2005618548" sldId="2147483803"/>
              <ac:spMk id="2" creationId="{74AE4EEC-CA6D-D964-9CB5-A6496D37CD2A}"/>
            </ac:spMkLst>
          </pc:spChg>
        </pc:sldLayoutChg>
        <pc:sldLayoutChg chg="addSp modSp">
          <pc:chgData name="Hans Gelissen (DHL SSC Maastricht)" userId="1afa8510-4eed-4b73-a29e-678838cd8acd" providerId="ADAL" clId="{A12E206A-4C27-49C9-9C65-03FB9E0A52A0}" dt="2023-04-18T10:16:49.586" v="60"/>
          <pc:sldLayoutMkLst>
            <pc:docMk/>
            <pc:sldMasterMk cId="3009645139" sldId="2147483782"/>
            <pc:sldLayoutMk cId="2141143529" sldId="2147483804"/>
          </pc:sldLayoutMkLst>
          <pc:spChg chg="add mod">
            <ac:chgData name="Hans Gelissen (DHL SSC Maastricht)" userId="1afa8510-4eed-4b73-a29e-678838cd8acd" providerId="ADAL" clId="{A12E206A-4C27-49C9-9C65-03FB9E0A52A0}" dt="2023-04-18T10:16:49.586" v="60"/>
            <ac:spMkLst>
              <pc:docMk/>
              <pc:sldMasterMk cId="3009645139" sldId="2147483782"/>
              <pc:sldLayoutMk cId="2141143529" sldId="2147483804"/>
              <ac:spMk id="2" creationId="{969DCE78-5DAC-A743-A96F-73DBC5D08109}"/>
            </ac:spMkLst>
          </pc:spChg>
        </pc:sldLayoutChg>
        <pc:sldLayoutChg chg="addSp modSp">
          <pc:chgData name="Hans Gelissen (DHL SSC Maastricht)" userId="1afa8510-4eed-4b73-a29e-678838cd8acd" providerId="ADAL" clId="{A12E206A-4C27-49C9-9C65-03FB9E0A52A0}" dt="2023-04-18T10:16:37.495" v="44"/>
          <pc:sldLayoutMkLst>
            <pc:docMk/>
            <pc:sldMasterMk cId="3009645139" sldId="2147483782"/>
            <pc:sldLayoutMk cId="2696944745" sldId="2147483840"/>
          </pc:sldLayoutMkLst>
          <pc:spChg chg="add mod">
            <ac:chgData name="Hans Gelissen (DHL SSC Maastricht)" userId="1afa8510-4eed-4b73-a29e-678838cd8acd" providerId="ADAL" clId="{A12E206A-4C27-49C9-9C65-03FB9E0A52A0}" dt="2023-04-18T10:16:37.495" v="44"/>
            <ac:spMkLst>
              <pc:docMk/>
              <pc:sldMasterMk cId="3009645139" sldId="2147483782"/>
              <pc:sldLayoutMk cId="2696944745" sldId="2147483840"/>
              <ac:spMk id="2" creationId="{DD7C5BB1-53BE-99C1-D20B-3ECB21A34F94}"/>
            </ac:spMkLst>
          </pc:spChg>
        </pc:sldLayoutChg>
        <pc:sldLayoutChg chg="addSp modSp">
          <pc:chgData name="Hans Gelissen (DHL SSC Maastricht)" userId="1afa8510-4eed-4b73-a29e-678838cd8acd" providerId="ADAL" clId="{A12E206A-4C27-49C9-9C65-03FB9E0A52A0}" dt="2023-04-18T10:16:36.640" v="42"/>
          <pc:sldLayoutMkLst>
            <pc:docMk/>
            <pc:sldMasterMk cId="3009645139" sldId="2147483782"/>
            <pc:sldLayoutMk cId="4274500592" sldId="2147483841"/>
          </pc:sldLayoutMkLst>
          <pc:spChg chg="add mod">
            <ac:chgData name="Hans Gelissen (DHL SSC Maastricht)" userId="1afa8510-4eed-4b73-a29e-678838cd8acd" providerId="ADAL" clId="{A12E206A-4C27-49C9-9C65-03FB9E0A52A0}" dt="2023-04-18T10:16:36.640" v="42"/>
            <ac:spMkLst>
              <pc:docMk/>
              <pc:sldMasterMk cId="3009645139" sldId="2147483782"/>
              <pc:sldLayoutMk cId="4274500592" sldId="2147483841"/>
              <ac:spMk id="2" creationId="{7E56700A-7077-27EF-6220-D14D07699FC6}"/>
            </ac:spMkLst>
          </pc:spChg>
        </pc:sldLayoutChg>
        <pc:sldLayoutChg chg="addSp modSp">
          <pc:chgData name="Hans Gelissen (DHL SSC Maastricht)" userId="1afa8510-4eed-4b73-a29e-678838cd8acd" providerId="ADAL" clId="{A12E206A-4C27-49C9-9C65-03FB9E0A52A0}" dt="2023-04-18T10:16:37.107" v="43"/>
          <pc:sldLayoutMkLst>
            <pc:docMk/>
            <pc:sldMasterMk cId="3009645139" sldId="2147483782"/>
            <pc:sldLayoutMk cId="695310547" sldId="2147483842"/>
          </pc:sldLayoutMkLst>
          <pc:spChg chg="add mod">
            <ac:chgData name="Hans Gelissen (DHL SSC Maastricht)" userId="1afa8510-4eed-4b73-a29e-678838cd8acd" providerId="ADAL" clId="{A12E206A-4C27-49C9-9C65-03FB9E0A52A0}" dt="2023-04-18T10:16:37.107" v="43"/>
            <ac:spMkLst>
              <pc:docMk/>
              <pc:sldMasterMk cId="3009645139" sldId="2147483782"/>
              <pc:sldLayoutMk cId="695310547" sldId="2147483842"/>
              <ac:spMk id="2" creationId="{AC6A0537-F6F5-6630-6BAE-9557C8812A05}"/>
            </ac:spMkLst>
          </pc:spChg>
        </pc:sldLayoutChg>
        <pc:sldLayoutChg chg="addSp modSp">
          <pc:chgData name="Hans Gelissen (DHL SSC Maastricht)" userId="1afa8510-4eed-4b73-a29e-678838cd8acd" providerId="ADAL" clId="{A12E206A-4C27-49C9-9C65-03FB9E0A52A0}" dt="2023-04-18T10:16:39.761" v="45"/>
          <pc:sldLayoutMkLst>
            <pc:docMk/>
            <pc:sldMasterMk cId="3009645139" sldId="2147483782"/>
            <pc:sldLayoutMk cId="604909523" sldId="2147483843"/>
          </pc:sldLayoutMkLst>
          <pc:spChg chg="add mod">
            <ac:chgData name="Hans Gelissen (DHL SSC Maastricht)" userId="1afa8510-4eed-4b73-a29e-678838cd8acd" providerId="ADAL" clId="{A12E206A-4C27-49C9-9C65-03FB9E0A52A0}" dt="2023-04-18T10:16:39.761" v="45"/>
            <ac:spMkLst>
              <pc:docMk/>
              <pc:sldMasterMk cId="3009645139" sldId="2147483782"/>
              <pc:sldLayoutMk cId="604909523" sldId="2147483843"/>
              <ac:spMk id="2" creationId="{D849E9E7-262E-2BFC-991B-9FD875ADED06}"/>
            </ac:spMkLst>
          </pc:spChg>
        </pc:sldLayoutChg>
        <pc:sldLayoutChg chg="addSp modSp">
          <pc:chgData name="Hans Gelissen (DHL SSC Maastricht)" userId="1afa8510-4eed-4b73-a29e-678838cd8acd" providerId="ADAL" clId="{A12E206A-4C27-49C9-9C65-03FB9E0A52A0}" dt="2023-04-18T10:16:41.408" v="48"/>
          <pc:sldLayoutMkLst>
            <pc:docMk/>
            <pc:sldMasterMk cId="3009645139" sldId="2147483782"/>
            <pc:sldLayoutMk cId="1433277352" sldId="2147483895"/>
          </pc:sldLayoutMkLst>
          <pc:spChg chg="add mod">
            <ac:chgData name="Hans Gelissen (DHL SSC Maastricht)" userId="1afa8510-4eed-4b73-a29e-678838cd8acd" providerId="ADAL" clId="{A12E206A-4C27-49C9-9C65-03FB9E0A52A0}" dt="2023-04-18T10:16:41.408" v="48"/>
            <ac:spMkLst>
              <pc:docMk/>
              <pc:sldMasterMk cId="3009645139" sldId="2147483782"/>
              <pc:sldLayoutMk cId="1433277352" sldId="2147483895"/>
              <ac:spMk id="2" creationId="{32AF1072-E84E-D865-2A78-9C92D5B6A998}"/>
            </ac:spMkLst>
          </pc:spChg>
        </pc:sldLayoutChg>
        <pc:sldLayoutChg chg="addSp modSp">
          <pc:chgData name="Hans Gelissen (DHL SSC Maastricht)" userId="1afa8510-4eed-4b73-a29e-678838cd8acd" providerId="ADAL" clId="{A12E206A-4C27-49C9-9C65-03FB9E0A52A0}" dt="2023-04-18T10:16:41.792" v="49"/>
          <pc:sldLayoutMkLst>
            <pc:docMk/>
            <pc:sldMasterMk cId="3009645139" sldId="2147483782"/>
            <pc:sldLayoutMk cId="2068679615" sldId="2147483896"/>
          </pc:sldLayoutMkLst>
          <pc:spChg chg="add mod">
            <ac:chgData name="Hans Gelissen (DHL SSC Maastricht)" userId="1afa8510-4eed-4b73-a29e-678838cd8acd" providerId="ADAL" clId="{A12E206A-4C27-49C9-9C65-03FB9E0A52A0}" dt="2023-04-18T10:16:41.792" v="49"/>
            <ac:spMkLst>
              <pc:docMk/>
              <pc:sldMasterMk cId="3009645139" sldId="2147483782"/>
              <pc:sldLayoutMk cId="2068679615" sldId="2147483896"/>
              <ac:spMk id="2" creationId="{C1F6FF43-1B44-0218-BE6D-74B0EEE7240C}"/>
            </ac:spMkLst>
          </pc:spChg>
        </pc:sldLayoutChg>
        <pc:sldLayoutChg chg="addSp modSp">
          <pc:chgData name="Hans Gelissen (DHL SSC Maastricht)" userId="1afa8510-4eed-4b73-a29e-678838cd8acd" providerId="ADAL" clId="{A12E206A-4C27-49C9-9C65-03FB9E0A52A0}" dt="2023-04-18T10:16:42.157" v="50"/>
          <pc:sldLayoutMkLst>
            <pc:docMk/>
            <pc:sldMasterMk cId="3009645139" sldId="2147483782"/>
            <pc:sldLayoutMk cId="3666955133" sldId="2147483897"/>
          </pc:sldLayoutMkLst>
          <pc:spChg chg="add mod">
            <ac:chgData name="Hans Gelissen (DHL SSC Maastricht)" userId="1afa8510-4eed-4b73-a29e-678838cd8acd" providerId="ADAL" clId="{A12E206A-4C27-49C9-9C65-03FB9E0A52A0}" dt="2023-04-18T10:16:42.157" v="50"/>
            <ac:spMkLst>
              <pc:docMk/>
              <pc:sldMasterMk cId="3009645139" sldId="2147483782"/>
              <pc:sldLayoutMk cId="3666955133" sldId="2147483897"/>
              <ac:spMk id="2" creationId="{5B337798-3004-B2F2-BD4A-3517AFE49279}"/>
            </ac:spMkLst>
          </pc:spChg>
        </pc:sldLayoutChg>
        <pc:sldLayoutChg chg="addSp modSp">
          <pc:chgData name="Hans Gelissen (DHL SSC Maastricht)" userId="1afa8510-4eed-4b73-a29e-678838cd8acd" providerId="ADAL" clId="{A12E206A-4C27-49C9-9C65-03FB9E0A52A0}" dt="2023-04-18T10:16:43.272" v="51"/>
          <pc:sldLayoutMkLst>
            <pc:docMk/>
            <pc:sldMasterMk cId="3009645139" sldId="2147483782"/>
            <pc:sldLayoutMk cId="1897181201" sldId="2147483898"/>
          </pc:sldLayoutMkLst>
          <pc:spChg chg="add mod">
            <ac:chgData name="Hans Gelissen (DHL SSC Maastricht)" userId="1afa8510-4eed-4b73-a29e-678838cd8acd" providerId="ADAL" clId="{A12E206A-4C27-49C9-9C65-03FB9E0A52A0}" dt="2023-04-18T10:16:43.272" v="51"/>
            <ac:spMkLst>
              <pc:docMk/>
              <pc:sldMasterMk cId="3009645139" sldId="2147483782"/>
              <pc:sldLayoutMk cId="1897181201" sldId="2147483898"/>
              <ac:spMk id="2" creationId="{F9997CC1-EAD6-F97E-D502-8E39E8EA080D}"/>
            </ac:spMkLst>
          </pc:spChg>
        </pc:sldLayoutChg>
        <pc:sldLayoutChg chg="addSp modSp">
          <pc:chgData name="Hans Gelissen (DHL SSC Maastricht)" userId="1afa8510-4eed-4b73-a29e-678838cd8acd" providerId="ADAL" clId="{A12E206A-4C27-49C9-9C65-03FB9E0A52A0}" dt="2023-04-18T10:16:43.800" v="52"/>
          <pc:sldLayoutMkLst>
            <pc:docMk/>
            <pc:sldMasterMk cId="3009645139" sldId="2147483782"/>
            <pc:sldLayoutMk cId="262418530" sldId="2147483955"/>
          </pc:sldLayoutMkLst>
          <pc:spChg chg="add mod">
            <ac:chgData name="Hans Gelissen (DHL SSC Maastricht)" userId="1afa8510-4eed-4b73-a29e-678838cd8acd" providerId="ADAL" clId="{A12E206A-4C27-49C9-9C65-03FB9E0A52A0}" dt="2023-04-18T10:16:43.800" v="52"/>
            <ac:spMkLst>
              <pc:docMk/>
              <pc:sldMasterMk cId="3009645139" sldId="2147483782"/>
              <pc:sldLayoutMk cId="262418530" sldId="2147483955"/>
              <ac:spMk id="2" creationId="{93B0EC30-966F-CE1F-BEE8-E7ECE82E97CF}"/>
            </ac:spMkLst>
          </pc:spChg>
        </pc:sldLayoutChg>
        <pc:sldLayoutChg chg="addSp modSp">
          <pc:chgData name="Hans Gelissen (DHL SSC Maastricht)" userId="1afa8510-4eed-4b73-a29e-678838cd8acd" providerId="ADAL" clId="{A12E206A-4C27-49C9-9C65-03FB9E0A52A0}" dt="2023-04-18T10:16:44.536" v="53"/>
          <pc:sldLayoutMkLst>
            <pc:docMk/>
            <pc:sldMasterMk cId="3009645139" sldId="2147483782"/>
            <pc:sldLayoutMk cId="2338710343" sldId="2147483956"/>
          </pc:sldLayoutMkLst>
          <pc:spChg chg="add mod">
            <ac:chgData name="Hans Gelissen (DHL SSC Maastricht)" userId="1afa8510-4eed-4b73-a29e-678838cd8acd" providerId="ADAL" clId="{A12E206A-4C27-49C9-9C65-03FB9E0A52A0}" dt="2023-04-18T10:16:44.536" v="53"/>
            <ac:spMkLst>
              <pc:docMk/>
              <pc:sldMasterMk cId="3009645139" sldId="2147483782"/>
              <pc:sldLayoutMk cId="2338710343" sldId="2147483956"/>
              <ac:spMk id="2" creationId="{249CB060-90D4-4815-BF9B-D001CB268BBC}"/>
            </ac:spMkLst>
          </pc:spChg>
        </pc:sldLayoutChg>
        <pc:sldLayoutChg chg="addSp modSp">
          <pc:chgData name="Hans Gelissen (DHL SSC Maastricht)" userId="1afa8510-4eed-4b73-a29e-678838cd8acd" providerId="ADAL" clId="{A12E206A-4C27-49C9-9C65-03FB9E0A52A0}" dt="2023-04-18T10:16:45.090" v="54"/>
          <pc:sldLayoutMkLst>
            <pc:docMk/>
            <pc:sldMasterMk cId="3009645139" sldId="2147483782"/>
            <pc:sldLayoutMk cId="385823197" sldId="2147483957"/>
          </pc:sldLayoutMkLst>
          <pc:spChg chg="add mod">
            <ac:chgData name="Hans Gelissen (DHL SSC Maastricht)" userId="1afa8510-4eed-4b73-a29e-678838cd8acd" providerId="ADAL" clId="{A12E206A-4C27-49C9-9C65-03FB9E0A52A0}" dt="2023-04-18T10:16:45.090" v="54"/>
            <ac:spMkLst>
              <pc:docMk/>
              <pc:sldMasterMk cId="3009645139" sldId="2147483782"/>
              <pc:sldLayoutMk cId="385823197" sldId="2147483957"/>
              <ac:spMk id="2" creationId="{035527CE-B2D2-1972-687D-50447AB4C3B4}"/>
            </ac:spMkLst>
          </pc:spChg>
        </pc:sldLayoutChg>
        <pc:sldLayoutChg chg="addSp modSp">
          <pc:chgData name="Hans Gelissen (DHL SSC Maastricht)" userId="1afa8510-4eed-4b73-a29e-678838cd8acd" providerId="ADAL" clId="{A12E206A-4C27-49C9-9C65-03FB9E0A52A0}" dt="2023-04-18T10:16:45.752" v="55"/>
          <pc:sldLayoutMkLst>
            <pc:docMk/>
            <pc:sldMasterMk cId="3009645139" sldId="2147483782"/>
            <pc:sldLayoutMk cId="3246149922" sldId="2147483958"/>
          </pc:sldLayoutMkLst>
          <pc:spChg chg="add mod">
            <ac:chgData name="Hans Gelissen (DHL SSC Maastricht)" userId="1afa8510-4eed-4b73-a29e-678838cd8acd" providerId="ADAL" clId="{A12E206A-4C27-49C9-9C65-03FB9E0A52A0}" dt="2023-04-18T10:16:45.752" v="55"/>
            <ac:spMkLst>
              <pc:docMk/>
              <pc:sldMasterMk cId="3009645139" sldId="2147483782"/>
              <pc:sldLayoutMk cId="3246149922" sldId="2147483958"/>
              <ac:spMk id="2" creationId="{A9157641-8FCB-B728-30A8-49C2DBB13C55}"/>
            </ac:spMkLst>
          </pc:spChg>
        </pc:sldLayoutChg>
        <pc:sldLayoutChg chg="addSp modSp">
          <pc:chgData name="Hans Gelissen (DHL SSC Maastricht)" userId="1afa8510-4eed-4b73-a29e-678838cd8acd" providerId="ADAL" clId="{A12E206A-4C27-49C9-9C65-03FB9E0A52A0}" dt="2023-04-18T10:16:46.583" v="56"/>
          <pc:sldLayoutMkLst>
            <pc:docMk/>
            <pc:sldMasterMk cId="3009645139" sldId="2147483782"/>
            <pc:sldLayoutMk cId="3261208622" sldId="2147483959"/>
          </pc:sldLayoutMkLst>
          <pc:spChg chg="add mod">
            <ac:chgData name="Hans Gelissen (DHL SSC Maastricht)" userId="1afa8510-4eed-4b73-a29e-678838cd8acd" providerId="ADAL" clId="{A12E206A-4C27-49C9-9C65-03FB9E0A52A0}" dt="2023-04-18T10:16:46.583" v="56"/>
            <ac:spMkLst>
              <pc:docMk/>
              <pc:sldMasterMk cId="3009645139" sldId="2147483782"/>
              <pc:sldLayoutMk cId="3261208622" sldId="2147483959"/>
              <ac:spMk id="2" creationId="{F2CB01D5-5CAC-A981-0A59-128A314160A0}"/>
            </ac:spMkLst>
          </pc:spChg>
        </pc:sldLayoutChg>
        <pc:sldLayoutChg chg="addSp modSp">
          <pc:chgData name="Hans Gelissen (DHL SSC Maastricht)" userId="1afa8510-4eed-4b73-a29e-678838cd8acd" providerId="ADAL" clId="{A12E206A-4C27-49C9-9C65-03FB9E0A52A0}" dt="2023-04-18T10:16:47.597" v="57"/>
          <pc:sldLayoutMkLst>
            <pc:docMk/>
            <pc:sldMasterMk cId="3009645139" sldId="2147483782"/>
            <pc:sldLayoutMk cId="271718921" sldId="2147483960"/>
          </pc:sldLayoutMkLst>
          <pc:spChg chg="add mod">
            <ac:chgData name="Hans Gelissen (DHL SSC Maastricht)" userId="1afa8510-4eed-4b73-a29e-678838cd8acd" providerId="ADAL" clId="{A12E206A-4C27-49C9-9C65-03FB9E0A52A0}" dt="2023-04-18T10:16:47.597" v="57"/>
            <ac:spMkLst>
              <pc:docMk/>
              <pc:sldMasterMk cId="3009645139" sldId="2147483782"/>
              <pc:sldLayoutMk cId="271718921" sldId="2147483960"/>
              <ac:spMk id="2" creationId="{5A38E71E-BC9B-C633-4455-8E38AE9A7D87}"/>
            </ac:spMkLst>
          </pc:spChg>
        </pc:sldLayoutChg>
        <pc:sldLayoutChg chg="addSp modSp">
          <pc:chgData name="Hans Gelissen (DHL SSC Maastricht)" userId="1afa8510-4eed-4b73-a29e-678838cd8acd" providerId="ADAL" clId="{A12E206A-4C27-49C9-9C65-03FB9E0A52A0}" dt="2023-04-18T10:16:48.240" v="58"/>
          <pc:sldLayoutMkLst>
            <pc:docMk/>
            <pc:sldMasterMk cId="3009645139" sldId="2147483782"/>
            <pc:sldLayoutMk cId="373419110" sldId="2147483961"/>
          </pc:sldLayoutMkLst>
          <pc:spChg chg="add mod">
            <ac:chgData name="Hans Gelissen (DHL SSC Maastricht)" userId="1afa8510-4eed-4b73-a29e-678838cd8acd" providerId="ADAL" clId="{A12E206A-4C27-49C9-9C65-03FB9E0A52A0}" dt="2023-04-18T10:16:48.240" v="58"/>
            <ac:spMkLst>
              <pc:docMk/>
              <pc:sldMasterMk cId="3009645139" sldId="2147483782"/>
              <pc:sldLayoutMk cId="373419110" sldId="2147483961"/>
              <ac:spMk id="2" creationId="{335D3E27-B89B-D97B-50D8-10FB957D86FE}"/>
            </ac:spMkLst>
          </pc:spChg>
        </pc:sldLayoutChg>
        <pc:sldLayoutChg chg="addSp modSp">
          <pc:chgData name="Hans Gelissen (DHL SSC Maastricht)" userId="1afa8510-4eed-4b73-a29e-678838cd8acd" providerId="ADAL" clId="{A12E206A-4C27-49C9-9C65-03FB9E0A52A0}" dt="2023-04-18T10:16:49.035" v="59"/>
          <pc:sldLayoutMkLst>
            <pc:docMk/>
            <pc:sldMasterMk cId="3009645139" sldId="2147483782"/>
            <pc:sldLayoutMk cId="413288453" sldId="2147483962"/>
          </pc:sldLayoutMkLst>
          <pc:spChg chg="add mod">
            <ac:chgData name="Hans Gelissen (DHL SSC Maastricht)" userId="1afa8510-4eed-4b73-a29e-678838cd8acd" providerId="ADAL" clId="{A12E206A-4C27-49C9-9C65-03FB9E0A52A0}" dt="2023-04-18T10:16:49.035" v="59"/>
            <ac:spMkLst>
              <pc:docMk/>
              <pc:sldMasterMk cId="3009645139" sldId="2147483782"/>
              <pc:sldLayoutMk cId="413288453" sldId="2147483962"/>
              <ac:spMk id="2" creationId="{60A93605-5826-0331-3923-A09981D6B7FB}"/>
            </ac:spMkLst>
          </pc:spChg>
        </pc:sldLayoutChg>
      </pc:sldMasterChg>
      <pc:sldMasterChg chg="modSldLayout">
        <pc:chgData name="Hans Gelissen (DHL SSC Maastricht)" userId="1afa8510-4eed-4b73-a29e-678838cd8acd" providerId="ADAL" clId="{A12E206A-4C27-49C9-9C65-03FB9E0A52A0}" dt="2023-04-18T10:18:31.977" v="102"/>
        <pc:sldMasterMkLst>
          <pc:docMk/>
          <pc:sldMasterMk cId="1560827226" sldId="2147483789"/>
        </pc:sldMasterMkLst>
        <pc:sldLayoutChg chg="addSp modSp">
          <pc:chgData name="Hans Gelissen (DHL SSC Maastricht)" userId="1afa8510-4eed-4b73-a29e-678838cd8acd" providerId="ADAL" clId="{A12E206A-4C27-49C9-9C65-03FB9E0A52A0}" dt="2023-04-18T10:17:26.371" v="81"/>
          <pc:sldLayoutMkLst>
            <pc:docMk/>
            <pc:sldMasterMk cId="1560827226" sldId="2147483789"/>
            <pc:sldLayoutMk cId="1929487974" sldId="2147483748"/>
          </pc:sldLayoutMkLst>
          <pc:spChg chg="add mod">
            <ac:chgData name="Hans Gelissen (DHL SSC Maastricht)" userId="1afa8510-4eed-4b73-a29e-678838cd8acd" providerId="ADAL" clId="{A12E206A-4C27-49C9-9C65-03FB9E0A52A0}" dt="2023-04-18T10:17:26.371" v="81"/>
            <ac:spMkLst>
              <pc:docMk/>
              <pc:sldMasterMk cId="1560827226" sldId="2147483789"/>
              <pc:sldLayoutMk cId="1929487974" sldId="2147483748"/>
              <ac:spMk id="2" creationId="{AB05D7D2-A361-26D9-8597-1548C7AC3B59}"/>
            </ac:spMkLst>
          </pc:spChg>
        </pc:sldLayoutChg>
        <pc:sldLayoutChg chg="addSp modSp">
          <pc:chgData name="Hans Gelissen (DHL SSC Maastricht)" userId="1afa8510-4eed-4b73-a29e-678838cd8acd" providerId="ADAL" clId="{A12E206A-4C27-49C9-9C65-03FB9E0A52A0}" dt="2023-04-18T10:17:26.870" v="82"/>
          <pc:sldLayoutMkLst>
            <pc:docMk/>
            <pc:sldMasterMk cId="1560827226" sldId="2147483789"/>
            <pc:sldLayoutMk cId="3112511369" sldId="2147483808"/>
          </pc:sldLayoutMkLst>
          <pc:spChg chg="add mod">
            <ac:chgData name="Hans Gelissen (DHL SSC Maastricht)" userId="1afa8510-4eed-4b73-a29e-678838cd8acd" providerId="ADAL" clId="{A12E206A-4C27-49C9-9C65-03FB9E0A52A0}" dt="2023-04-18T10:17:26.870" v="82"/>
            <ac:spMkLst>
              <pc:docMk/>
              <pc:sldMasterMk cId="1560827226" sldId="2147483789"/>
              <pc:sldLayoutMk cId="3112511369" sldId="2147483808"/>
              <ac:spMk id="2" creationId="{BC52211A-A0E4-2340-873F-C3F4642AC0F0}"/>
            </ac:spMkLst>
          </pc:spChg>
        </pc:sldLayoutChg>
        <pc:sldLayoutChg chg="addSp modSp">
          <pc:chgData name="Hans Gelissen (DHL SSC Maastricht)" userId="1afa8510-4eed-4b73-a29e-678838cd8acd" providerId="ADAL" clId="{A12E206A-4C27-49C9-9C65-03FB9E0A52A0}" dt="2023-04-18T10:17:27.285" v="83"/>
          <pc:sldLayoutMkLst>
            <pc:docMk/>
            <pc:sldMasterMk cId="1560827226" sldId="2147483789"/>
            <pc:sldLayoutMk cId="2973508890" sldId="2147483809"/>
          </pc:sldLayoutMkLst>
          <pc:spChg chg="add mod">
            <ac:chgData name="Hans Gelissen (DHL SSC Maastricht)" userId="1afa8510-4eed-4b73-a29e-678838cd8acd" providerId="ADAL" clId="{A12E206A-4C27-49C9-9C65-03FB9E0A52A0}" dt="2023-04-18T10:17:27.285" v="83"/>
            <ac:spMkLst>
              <pc:docMk/>
              <pc:sldMasterMk cId="1560827226" sldId="2147483789"/>
              <pc:sldLayoutMk cId="2973508890" sldId="2147483809"/>
              <ac:spMk id="2" creationId="{B9F12178-4D40-7AE2-FE82-502E54B1FA5A}"/>
            </ac:spMkLst>
          </pc:spChg>
        </pc:sldLayoutChg>
        <pc:sldLayoutChg chg="addSp delSp modSp">
          <pc:chgData name="Hans Gelissen (DHL SSC Maastricht)" userId="1afa8510-4eed-4b73-a29e-678838cd8acd" providerId="ADAL" clId="{A12E206A-4C27-49C9-9C65-03FB9E0A52A0}" dt="2023-04-18T10:18:31.977" v="102"/>
          <pc:sldLayoutMkLst>
            <pc:docMk/>
            <pc:sldMasterMk cId="1560827226" sldId="2147483789"/>
            <pc:sldLayoutMk cId="1933999975" sldId="2147483810"/>
          </pc:sldLayoutMkLst>
          <pc:spChg chg="add mod">
            <ac:chgData name="Hans Gelissen (DHL SSC Maastricht)" userId="1afa8510-4eed-4b73-a29e-678838cd8acd" providerId="ADAL" clId="{A12E206A-4C27-49C9-9C65-03FB9E0A52A0}" dt="2023-04-18T10:17:40.237" v="100"/>
            <ac:spMkLst>
              <pc:docMk/>
              <pc:sldMasterMk cId="1560827226" sldId="2147483789"/>
              <pc:sldLayoutMk cId="1933999975" sldId="2147483810"/>
              <ac:spMk id="2" creationId="{4D9D7510-67E6-ADEE-8F06-3694F353363B}"/>
            </ac:spMkLst>
          </pc:spChg>
          <pc:spChg chg="add del mod">
            <ac:chgData name="Hans Gelissen (DHL SSC Maastricht)" userId="1afa8510-4eed-4b73-a29e-678838cd8acd" providerId="ADAL" clId="{A12E206A-4C27-49C9-9C65-03FB9E0A52A0}" dt="2023-04-18T10:18:31.977" v="102"/>
            <ac:spMkLst>
              <pc:docMk/>
              <pc:sldMasterMk cId="1560827226" sldId="2147483789"/>
              <pc:sldLayoutMk cId="1933999975" sldId="2147483810"/>
              <ac:spMk id="3" creationId="{71C10532-8B95-5771-131B-F5406229FEA2}"/>
            </ac:spMkLst>
          </pc:spChg>
        </pc:sldLayoutChg>
        <pc:sldLayoutChg chg="addSp modSp">
          <pc:chgData name="Hans Gelissen (DHL SSC Maastricht)" userId="1afa8510-4eed-4b73-a29e-678838cd8acd" providerId="ADAL" clId="{A12E206A-4C27-49C9-9C65-03FB9E0A52A0}" dt="2023-04-18T10:17:29.070" v="85"/>
          <pc:sldLayoutMkLst>
            <pc:docMk/>
            <pc:sldMasterMk cId="1560827226" sldId="2147483789"/>
            <pc:sldLayoutMk cId="744637158" sldId="2147483853"/>
          </pc:sldLayoutMkLst>
          <pc:spChg chg="add mod">
            <ac:chgData name="Hans Gelissen (DHL SSC Maastricht)" userId="1afa8510-4eed-4b73-a29e-678838cd8acd" providerId="ADAL" clId="{A12E206A-4C27-49C9-9C65-03FB9E0A52A0}" dt="2023-04-18T10:17:29.070" v="85"/>
            <ac:spMkLst>
              <pc:docMk/>
              <pc:sldMasterMk cId="1560827226" sldId="2147483789"/>
              <pc:sldLayoutMk cId="744637158" sldId="2147483853"/>
              <ac:spMk id="2" creationId="{51FCD209-EEC2-42E5-3DDA-BBF466EAF545}"/>
            </ac:spMkLst>
          </pc:spChg>
        </pc:sldLayoutChg>
        <pc:sldLayoutChg chg="addSp modSp">
          <pc:chgData name="Hans Gelissen (DHL SSC Maastricht)" userId="1afa8510-4eed-4b73-a29e-678838cd8acd" providerId="ADAL" clId="{A12E206A-4C27-49C9-9C65-03FB9E0A52A0}" dt="2023-04-18T10:17:29.442" v="86"/>
          <pc:sldLayoutMkLst>
            <pc:docMk/>
            <pc:sldMasterMk cId="1560827226" sldId="2147483789"/>
            <pc:sldLayoutMk cId="912269737" sldId="2147483854"/>
          </pc:sldLayoutMkLst>
          <pc:spChg chg="add mod">
            <ac:chgData name="Hans Gelissen (DHL SSC Maastricht)" userId="1afa8510-4eed-4b73-a29e-678838cd8acd" providerId="ADAL" clId="{A12E206A-4C27-49C9-9C65-03FB9E0A52A0}" dt="2023-04-18T10:17:29.442" v="86"/>
            <ac:spMkLst>
              <pc:docMk/>
              <pc:sldMasterMk cId="1560827226" sldId="2147483789"/>
              <pc:sldLayoutMk cId="912269737" sldId="2147483854"/>
              <ac:spMk id="2" creationId="{96EB3F94-F48E-3B19-BC28-05A0BDF98A05}"/>
            </ac:spMkLst>
          </pc:spChg>
        </pc:sldLayoutChg>
        <pc:sldLayoutChg chg="addSp modSp">
          <pc:chgData name="Hans Gelissen (DHL SSC Maastricht)" userId="1afa8510-4eed-4b73-a29e-678838cd8acd" providerId="ADAL" clId="{A12E206A-4C27-49C9-9C65-03FB9E0A52A0}" dt="2023-04-18T10:17:30.974" v="87"/>
          <pc:sldLayoutMkLst>
            <pc:docMk/>
            <pc:sldMasterMk cId="1560827226" sldId="2147483789"/>
            <pc:sldLayoutMk cId="3259315673" sldId="2147483855"/>
          </pc:sldLayoutMkLst>
          <pc:spChg chg="add mod">
            <ac:chgData name="Hans Gelissen (DHL SSC Maastricht)" userId="1afa8510-4eed-4b73-a29e-678838cd8acd" providerId="ADAL" clId="{A12E206A-4C27-49C9-9C65-03FB9E0A52A0}" dt="2023-04-18T10:17:30.974" v="87"/>
            <ac:spMkLst>
              <pc:docMk/>
              <pc:sldMasterMk cId="1560827226" sldId="2147483789"/>
              <pc:sldLayoutMk cId="3259315673" sldId="2147483855"/>
              <ac:spMk id="2" creationId="{E5539E6B-5C46-5838-0FF3-49C76F065EBB}"/>
            </ac:spMkLst>
          </pc:spChg>
        </pc:sldLayoutChg>
        <pc:sldLayoutChg chg="addSp modSp">
          <pc:chgData name="Hans Gelissen (DHL SSC Maastricht)" userId="1afa8510-4eed-4b73-a29e-678838cd8acd" providerId="ADAL" clId="{A12E206A-4C27-49C9-9C65-03FB9E0A52A0}" dt="2023-04-18T10:17:28.693" v="84"/>
          <pc:sldLayoutMkLst>
            <pc:docMk/>
            <pc:sldMasterMk cId="1560827226" sldId="2147483789"/>
            <pc:sldLayoutMk cId="133451210" sldId="2147483856"/>
          </pc:sldLayoutMkLst>
          <pc:spChg chg="add mod">
            <ac:chgData name="Hans Gelissen (DHL SSC Maastricht)" userId="1afa8510-4eed-4b73-a29e-678838cd8acd" providerId="ADAL" clId="{A12E206A-4C27-49C9-9C65-03FB9E0A52A0}" dt="2023-04-18T10:17:28.693" v="84"/>
            <ac:spMkLst>
              <pc:docMk/>
              <pc:sldMasterMk cId="1560827226" sldId="2147483789"/>
              <pc:sldLayoutMk cId="133451210" sldId="2147483856"/>
              <ac:spMk id="2" creationId="{F0EF24D3-41DD-EA70-F8E6-3052AC7AB44C}"/>
            </ac:spMkLst>
          </pc:spChg>
        </pc:sldLayoutChg>
        <pc:sldLayoutChg chg="addSp modSp">
          <pc:chgData name="Hans Gelissen (DHL SSC Maastricht)" userId="1afa8510-4eed-4b73-a29e-678838cd8acd" providerId="ADAL" clId="{A12E206A-4C27-49C9-9C65-03FB9E0A52A0}" dt="2023-04-18T10:17:31.339" v="88"/>
          <pc:sldLayoutMkLst>
            <pc:docMk/>
            <pc:sldMasterMk cId="1560827226" sldId="2147483789"/>
            <pc:sldLayoutMk cId="2456586523" sldId="2147483905"/>
          </pc:sldLayoutMkLst>
          <pc:spChg chg="add mod">
            <ac:chgData name="Hans Gelissen (DHL SSC Maastricht)" userId="1afa8510-4eed-4b73-a29e-678838cd8acd" providerId="ADAL" clId="{A12E206A-4C27-49C9-9C65-03FB9E0A52A0}" dt="2023-04-18T10:17:31.339" v="88"/>
            <ac:spMkLst>
              <pc:docMk/>
              <pc:sldMasterMk cId="1560827226" sldId="2147483789"/>
              <pc:sldLayoutMk cId="2456586523" sldId="2147483905"/>
              <ac:spMk id="2" creationId="{FD3B4FFF-1D34-BA70-A464-650E0ECC6818}"/>
            </ac:spMkLst>
          </pc:spChg>
        </pc:sldLayoutChg>
        <pc:sldLayoutChg chg="addSp modSp">
          <pc:chgData name="Hans Gelissen (DHL SSC Maastricht)" userId="1afa8510-4eed-4b73-a29e-678838cd8acd" providerId="ADAL" clId="{A12E206A-4C27-49C9-9C65-03FB9E0A52A0}" dt="2023-04-18T10:17:31.713" v="89"/>
          <pc:sldLayoutMkLst>
            <pc:docMk/>
            <pc:sldMasterMk cId="1560827226" sldId="2147483789"/>
            <pc:sldLayoutMk cId="3206099427" sldId="2147483906"/>
          </pc:sldLayoutMkLst>
          <pc:spChg chg="add mod">
            <ac:chgData name="Hans Gelissen (DHL SSC Maastricht)" userId="1afa8510-4eed-4b73-a29e-678838cd8acd" providerId="ADAL" clId="{A12E206A-4C27-49C9-9C65-03FB9E0A52A0}" dt="2023-04-18T10:17:31.713" v="89"/>
            <ac:spMkLst>
              <pc:docMk/>
              <pc:sldMasterMk cId="1560827226" sldId="2147483789"/>
              <pc:sldLayoutMk cId="3206099427" sldId="2147483906"/>
              <ac:spMk id="2" creationId="{15A8739F-D054-0CC8-A201-3456FD33FADE}"/>
            </ac:spMkLst>
          </pc:spChg>
        </pc:sldLayoutChg>
        <pc:sldLayoutChg chg="addSp modSp">
          <pc:chgData name="Hans Gelissen (DHL SSC Maastricht)" userId="1afa8510-4eed-4b73-a29e-678838cd8acd" providerId="ADAL" clId="{A12E206A-4C27-49C9-9C65-03FB9E0A52A0}" dt="2023-04-18T10:17:32.120" v="90"/>
          <pc:sldLayoutMkLst>
            <pc:docMk/>
            <pc:sldMasterMk cId="1560827226" sldId="2147483789"/>
            <pc:sldLayoutMk cId="4204909159" sldId="2147483907"/>
          </pc:sldLayoutMkLst>
          <pc:spChg chg="add mod">
            <ac:chgData name="Hans Gelissen (DHL SSC Maastricht)" userId="1afa8510-4eed-4b73-a29e-678838cd8acd" providerId="ADAL" clId="{A12E206A-4C27-49C9-9C65-03FB9E0A52A0}" dt="2023-04-18T10:17:32.120" v="90"/>
            <ac:spMkLst>
              <pc:docMk/>
              <pc:sldMasterMk cId="1560827226" sldId="2147483789"/>
              <pc:sldLayoutMk cId="4204909159" sldId="2147483907"/>
              <ac:spMk id="2" creationId="{FF68B205-4774-024E-E7C5-5303481928EA}"/>
            </ac:spMkLst>
          </pc:spChg>
        </pc:sldLayoutChg>
        <pc:sldLayoutChg chg="addSp modSp">
          <pc:chgData name="Hans Gelissen (DHL SSC Maastricht)" userId="1afa8510-4eed-4b73-a29e-678838cd8acd" providerId="ADAL" clId="{A12E206A-4C27-49C9-9C65-03FB9E0A52A0}" dt="2023-04-18T10:17:33.886" v="91"/>
          <pc:sldLayoutMkLst>
            <pc:docMk/>
            <pc:sldMasterMk cId="1560827226" sldId="2147483789"/>
            <pc:sldLayoutMk cId="1584122736" sldId="2147483908"/>
          </pc:sldLayoutMkLst>
          <pc:spChg chg="add mod">
            <ac:chgData name="Hans Gelissen (DHL SSC Maastricht)" userId="1afa8510-4eed-4b73-a29e-678838cd8acd" providerId="ADAL" clId="{A12E206A-4C27-49C9-9C65-03FB9E0A52A0}" dt="2023-04-18T10:17:33.886" v="91"/>
            <ac:spMkLst>
              <pc:docMk/>
              <pc:sldMasterMk cId="1560827226" sldId="2147483789"/>
              <pc:sldLayoutMk cId="1584122736" sldId="2147483908"/>
              <ac:spMk id="2" creationId="{5EC48B3A-8F72-C0A9-D930-0A754B058E65}"/>
            </ac:spMkLst>
          </pc:spChg>
        </pc:sldLayoutChg>
        <pc:sldLayoutChg chg="addSp modSp">
          <pc:chgData name="Hans Gelissen (DHL SSC Maastricht)" userId="1afa8510-4eed-4b73-a29e-678838cd8acd" providerId="ADAL" clId="{A12E206A-4C27-49C9-9C65-03FB9E0A52A0}" dt="2023-04-18T10:17:34.257" v="92"/>
          <pc:sldLayoutMkLst>
            <pc:docMk/>
            <pc:sldMasterMk cId="1560827226" sldId="2147483789"/>
            <pc:sldLayoutMk cId="1787164114" sldId="2147483989"/>
          </pc:sldLayoutMkLst>
          <pc:spChg chg="add mod">
            <ac:chgData name="Hans Gelissen (DHL SSC Maastricht)" userId="1afa8510-4eed-4b73-a29e-678838cd8acd" providerId="ADAL" clId="{A12E206A-4C27-49C9-9C65-03FB9E0A52A0}" dt="2023-04-18T10:17:34.257" v="92"/>
            <ac:spMkLst>
              <pc:docMk/>
              <pc:sldMasterMk cId="1560827226" sldId="2147483789"/>
              <pc:sldLayoutMk cId="1787164114" sldId="2147483989"/>
              <ac:spMk id="2" creationId="{2218BBCE-CD97-AB48-79DE-93D512B42611}"/>
            </ac:spMkLst>
          </pc:spChg>
        </pc:sldLayoutChg>
        <pc:sldLayoutChg chg="addSp modSp">
          <pc:chgData name="Hans Gelissen (DHL SSC Maastricht)" userId="1afa8510-4eed-4b73-a29e-678838cd8acd" providerId="ADAL" clId="{A12E206A-4C27-49C9-9C65-03FB9E0A52A0}" dt="2023-04-18T10:17:34.638" v="93"/>
          <pc:sldLayoutMkLst>
            <pc:docMk/>
            <pc:sldMasterMk cId="1560827226" sldId="2147483789"/>
            <pc:sldLayoutMk cId="243815297" sldId="2147483990"/>
          </pc:sldLayoutMkLst>
          <pc:spChg chg="add mod">
            <ac:chgData name="Hans Gelissen (DHL SSC Maastricht)" userId="1afa8510-4eed-4b73-a29e-678838cd8acd" providerId="ADAL" clId="{A12E206A-4C27-49C9-9C65-03FB9E0A52A0}" dt="2023-04-18T10:17:34.638" v="93"/>
            <ac:spMkLst>
              <pc:docMk/>
              <pc:sldMasterMk cId="1560827226" sldId="2147483789"/>
              <pc:sldLayoutMk cId="243815297" sldId="2147483990"/>
              <ac:spMk id="2" creationId="{E42BD090-D304-DCE1-AECC-CCFFF6C98771}"/>
            </ac:spMkLst>
          </pc:spChg>
        </pc:sldLayoutChg>
        <pc:sldLayoutChg chg="addSp modSp">
          <pc:chgData name="Hans Gelissen (DHL SSC Maastricht)" userId="1afa8510-4eed-4b73-a29e-678838cd8acd" providerId="ADAL" clId="{A12E206A-4C27-49C9-9C65-03FB9E0A52A0}" dt="2023-04-18T10:17:34.991" v="94"/>
          <pc:sldLayoutMkLst>
            <pc:docMk/>
            <pc:sldMasterMk cId="1560827226" sldId="2147483789"/>
            <pc:sldLayoutMk cId="719341732" sldId="2147483991"/>
          </pc:sldLayoutMkLst>
          <pc:spChg chg="add mod">
            <ac:chgData name="Hans Gelissen (DHL SSC Maastricht)" userId="1afa8510-4eed-4b73-a29e-678838cd8acd" providerId="ADAL" clId="{A12E206A-4C27-49C9-9C65-03FB9E0A52A0}" dt="2023-04-18T10:17:34.991" v="94"/>
            <ac:spMkLst>
              <pc:docMk/>
              <pc:sldMasterMk cId="1560827226" sldId="2147483789"/>
              <pc:sldLayoutMk cId="719341732" sldId="2147483991"/>
              <ac:spMk id="2" creationId="{2C1CFFE2-D345-6580-3818-B8EE1BDD4718}"/>
            </ac:spMkLst>
          </pc:spChg>
        </pc:sldLayoutChg>
        <pc:sldLayoutChg chg="addSp modSp">
          <pc:chgData name="Hans Gelissen (DHL SSC Maastricht)" userId="1afa8510-4eed-4b73-a29e-678838cd8acd" providerId="ADAL" clId="{A12E206A-4C27-49C9-9C65-03FB9E0A52A0}" dt="2023-04-18T10:17:36.658" v="95"/>
          <pc:sldLayoutMkLst>
            <pc:docMk/>
            <pc:sldMasterMk cId="1560827226" sldId="2147483789"/>
            <pc:sldLayoutMk cId="74415229" sldId="2147483992"/>
          </pc:sldLayoutMkLst>
          <pc:spChg chg="add mod">
            <ac:chgData name="Hans Gelissen (DHL SSC Maastricht)" userId="1afa8510-4eed-4b73-a29e-678838cd8acd" providerId="ADAL" clId="{A12E206A-4C27-49C9-9C65-03FB9E0A52A0}" dt="2023-04-18T10:17:36.658" v="95"/>
            <ac:spMkLst>
              <pc:docMk/>
              <pc:sldMasterMk cId="1560827226" sldId="2147483789"/>
              <pc:sldLayoutMk cId="74415229" sldId="2147483992"/>
              <ac:spMk id="2" creationId="{AA34919F-E5AA-59C1-F491-16FB517EFF34}"/>
            </ac:spMkLst>
          </pc:spChg>
        </pc:sldLayoutChg>
        <pc:sldLayoutChg chg="addSp modSp">
          <pc:chgData name="Hans Gelissen (DHL SSC Maastricht)" userId="1afa8510-4eed-4b73-a29e-678838cd8acd" providerId="ADAL" clId="{A12E206A-4C27-49C9-9C65-03FB9E0A52A0}" dt="2023-04-18T10:17:37.567" v="97"/>
          <pc:sldLayoutMkLst>
            <pc:docMk/>
            <pc:sldMasterMk cId="1560827226" sldId="2147483789"/>
            <pc:sldLayoutMk cId="2411693142" sldId="2147483993"/>
          </pc:sldLayoutMkLst>
          <pc:spChg chg="add mod">
            <ac:chgData name="Hans Gelissen (DHL SSC Maastricht)" userId="1afa8510-4eed-4b73-a29e-678838cd8acd" providerId="ADAL" clId="{A12E206A-4C27-49C9-9C65-03FB9E0A52A0}" dt="2023-04-18T10:17:37.567" v="97"/>
            <ac:spMkLst>
              <pc:docMk/>
              <pc:sldMasterMk cId="1560827226" sldId="2147483789"/>
              <pc:sldLayoutMk cId="2411693142" sldId="2147483993"/>
              <ac:spMk id="2" creationId="{4B9BE4A9-B99A-3A55-7CCF-614213AE8878}"/>
            </ac:spMkLst>
          </pc:spChg>
        </pc:sldLayoutChg>
        <pc:sldLayoutChg chg="addSp modSp">
          <pc:chgData name="Hans Gelissen (DHL SSC Maastricht)" userId="1afa8510-4eed-4b73-a29e-678838cd8acd" providerId="ADAL" clId="{A12E206A-4C27-49C9-9C65-03FB9E0A52A0}" dt="2023-04-18T10:17:37.875" v="98"/>
          <pc:sldLayoutMkLst>
            <pc:docMk/>
            <pc:sldMasterMk cId="1560827226" sldId="2147483789"/>
            <pc:sldLayoutMk cId="4286881312" sldId="2147483994"/>
          </pc:sldLayoutMkLst>
          <pc:spChg chg="add mod">
            <ac:chgData name="Hans Gelissen (DHL SSC Maastricht)" userId="1afa8510-4eed-4b73-a29e-678838cd8acd" providerId="ADAL" clId="{A12E206A-4C27-49C9-9C65-03FB9E0A52A0}" dt="2023-04-18T10:17:37.875" v="98"/>
            <ac:spMkLst>
              <pc:docMk/>
              <pc:sldMasterMk cId="1560827226" sldId="2147483789"/>
              <pc:sldLayoutMk cId="4286881312" sldId="2147483994"/>
              <ac:spMk id="2" creationId="{C0930490-0BC2-6968-37CE-ACA2A21039C4}"/>
            </ac:spMkLst>
          </pc:spChg>
        </pc:sldLayoutChg>
        <pc:sldLayoutChg chg="addSp modSp">
          <pc:chgData name="Hans Gelissen (DHL SSC Maastricht)" userId="1afa8510-4eed-4b73-a29e-678838cd8acd" providerId="ADAL" clId="{A12E206A-4C27-49C9-9C65-03FB9E0A52A0}" dt="2023-04-18T10:17:39.912" v="99"/>
          <pc:sldLayoutMkLst>
            <pc:docMk/>
            <pc:sldMasterMk cId="1560827226" sldId="2147483789"/>
            <pc:sldLayoutMk cId="463531548" sldId="2147483995"/>
          </pc:sldLayoutMkLst>
          <pc:spChg chg="add mod">
            <ac:chgData name="Hans Gelissen (DHL SSC Maastricht)" userId="1afa8510-4eed-4b73-a29e-678838cd8acd" providerId="ADAL" clId="{A12E206A-4C27-49C9-9C65-03FB9E0A52A0}" dt="2023-04-18T10:17:39.912" v="99"/>
            <ac:spMkLst>
              <pc:docMk/>
              <pc:sldMasterMk cId="1560827226" sldId="2147483789"/>
              <pc:sldLayoutMk cId="463531548" sldId="2147483995"/>
              <ac:spMk id="2" creationId="{94F970AB-A9F6-6011-A348-35C590E8EBC7}"/>
            </ac:spMkLst>
          </pc:spChg>
        </pc:sldLayoutChg>
        <pc:sldLayoutChg chg="addSp modSp">
          <pc:chgData name="Hans Gelissen (DHL SSC Maastricht)" userId="1afa8510-4eed-4b73-a29e-678838cd8acd" providerId="ADAL" clId="{A12E206A-4C27-49C9-9C65-03FB9E0A52A0}" dt="2023-04-18T10:17:37.150" v="96"/>
          <pc:sldLayoutMkLst>
            <pc:docMk/>
            <pc:sldMasterMk cId="1560827226" sldId="2147483789"/>
            <pc:sldLayoutMk cId="520838339" sldId="2147483996"/>
          </pc:sldLayoutMkLst>
          <pc:spChg chg="add mod">
            <ac:chgData name="Hans Gelissen (DHL SSC Maastricht)" userId="1afa8510-4eed-4b73-a29e-678838cd8acd" providerId="ADAL" clId="{A12E206A-4C27-49C9-9C65-03FB9E0A52A0}" dt="2023-04-18T10:17:37.150" v="96"/>
            <ac:spMkLst>
              <pc:docMk/>
              <pc:sldMasterMk cId="1560827226" sldId="2147483789"/>
              <pc:sldLayoutMk cId="520838339" sldId="2147483996"/>
              <ac:spMk id="2" creationId="{AFEB6B1D-9CCE-9114-2420-B409480C0DA6}"/>
            </ac:spMkLst>
          </pc:spChg>
        </pc:sldLayoutChg>
      </pc:sldMasterChg>
      <pc:sldMasterChg chg="modSldLayout">
        <pc:chgData name="Hans Gelissen (DHL SSC Maastricht)" userId="1afa8510-4eed-4b73-a29e-678838cd8acd" providerId="ADAL" clId="{A12E206A-4C27-49C9-9C65-03FB9E0A52A0}" dt="2023-04-18T10:17:16.875" v="80"/>
        <pc:sldMasterMkLst>
          <pc:docMk/>
          <pc:sldMasterMk cId="1369645148" sldId="2147483790"/>
        </pc:sldMasterMkLst>
        <pc:sldLayoutChg chg="addSp modSp">
          <pc:chgData name="Hans Gelissen (DHL SSC Maastricht)" userId="1afa8510-4eed-4b73-a29e-678838cd8acd" providerId="ADAL" clId="{A12E206A-4C27-49C9-9C65-03FB9E0A52A0}" dt="2023-04-18T10:16:59.776" v="61"/>
          <pc:sldLayoutMkLst>
            <pc:docMk/>
            <pc:sldMasterMk cId="1369645148" sldId="2147483790"/>
            <pc:sldLayoutMk cId="3969535793" sldId="2147483785"/>
          </pc:sldLayoutMkLst>
          <pc:spChg chg="add mod">
            <ac:chgData name="Hans Gelissen (DHL SSC Maastricht)" userId="1afa8510-4eed-4b73-a29e-678838cd8acd" providerId="ADAL" clId="{A12E206A-4C27-49C9-9C65-03FB9E0A52A0}" dt="2023-04-18T10:16:59.776" v="61"/>
            <ac:spMkLst>
              <pc:docMk/>
              <pc:sldMasterMk cId="1369645148" sldId="2147483790"/>
              <pc:sldLayoutMk cId="3969535793" sldId="2147483785"/>
              <ac:spMk id="2" creationId="{AE23CB62-78C7-75B1-B358-377FD7859B13}"/>
            </ac:spMkLst>
          </pc:spChg>
        </pc:sldLayoutChg>
        <pc:sldLayoutChg chg="addSp modSp">
          <pc:chgData name="Hans Gelissen (DHL SSC Maastricht)" userId="1afa8510-4eed-4b73-a29e-678838cd8acd" providerId="ADAL" clId="{A12E206A-4C27-49C9-9C65-03FB9E0A52A0}" dt="2023-04-18T10:17:00.487" v="62"/>
          <pc:sldLayoutMkLst>
            <pc:docMk/>
            <pc:sldMasterMk cId="1369645148" sldId="2147483790"/>
            <pc:sldLayoutMk cId="4265294671" sldId="2147483805"/>
          </pc:sldLayoutMkLst>
          <pc:spChg chg="add mod">
            <ac:chgData name="Hans Gelissen (DHL SSC Maastricht)" userId="1afa8510-4eed-4b73-a29e-678838cd8acd" providerId="ADAL" clId="{A12E206A-4C27-49C9-9C65-03FB9E0A52A0}" dt="2023-04-18T10:17:00.487" v="62"/>
            <ac:spMkLst>
              <pc:docMk/>
              <pc:sldMasterMk cId="1369645148" sldId="2147483790"/>
              <pc:sldLayoutMk cId="4265294671" sldId="2147483805"/>
              <ac:spMk id="2" creationId="{472C0CB2-1F16-049A-31FD-677973F54E03}"/>
            </ac:spMkLst>
          </pc:spChg>
        </pc:sldLayoutChg>
        <pc:sldLayoutChg chg="addSp modSp">
          <pc:chgData name="Hans Gelissen (DHL SSC Maastricht)" userId="1afa8510-4eed-4b73-a29e-678838cd8acd" providerId="ADAL" clId="{A12E206A-4C27-49C9-9C65-03FB9E0A52A0}" dt="2023-04-18T10:17:00.857" v="63"/>
          <pc:sldLayoutMkLst>
            <pc:docMk/>
            <pc:sldMasterMk cId="1369645148" sldId="2147483790"/>
            <pc:sldLayoutMk cId="1207693144" sldId="2147483806"/>
          </pc:sldLayoutMkLst>
          <pc:spChg chg="add mod">
            <ac:chgData name="Hans Gelissen (DHL SSC Maastricht)" userId="1afa8510-4eed-4b73-a29e-678838cd8acd" providerId="ADAL" clId="{A12E206A-4C27-49C9-9C65-03FB9E0A52A0}" dt="2023-04-18T10:17:00.857" v="63"/>
            <ac:spMkLst>
              <pc:docMk/>
              <pc:sldMasterMk cId="1369645148" sldId="2147483790"/>
              <pc:sldLayoutMk cId="1207693144" sldId="2147483806"/>
              <ac:spMk id="2" creationId="{3D59AC4E-3806-7127-653E-D836E1E4166F}"/>
            </ac:spMkLst>
          </pc:spChg>
        </pc:sldLayoutChg>
        <pc:sldLayoutChg chg="addSp modSp">
          <pc:chgData name="Hans Gelissen (DHL SSC Maastricht)" userId="1afa8510-4eed-4b73-a29e-678838cd8acd" providerId="ADAL" clId="{A12E206A-4C27-49C9-9C65-03FB9E0A52A0}" dt="2023-04-18T10:17:16.875" v="80"/>
          <pc:sldLayoutMkLst>
            <pc:docMk/>
            <pc:sldMasterMk cId="1369645148" sldId="2147483790"/>
            <pc:sldLayoutMk cId="510718105" sldId="2147483807"/>
          </pc:sldLayoutMkLst>
          <pc:spChg chg="add mod">
            <ac:chgData name="Hans Gelissen (DHL SSC Maastricht)" userId="1afa8510-4eed-4b73-a29e-678838cd8acd" providerId="ADAL" clId="{A12E206A-4C27-49C9-9C65-03FB9E0A52A0}" dt="2023-04-18T10:17:16.875" v="80"/>
            <ac:spMkLst>
              <pc:docMk/>
              <pc:sldMasterMk cId="1369645148" sldId="2147483790"/>
              <pc:sldLayoutMk cId="510718105" sldId="2147483807"/>
              <ac:spMk id="2" creationId="{5B59A2BB-D46E-B6C2-910B-FBC8C4C3090E}"/>
            </ac:spMkLst>
          </pc:spChg>
        </pc:sldLayoutChg>
        <pc:sldLayoutChg chg="addSp modSp">
          <pc:chgData name="Hans Gelissen (DHL SSC Maastricht)" userId="1afa8510-4eed-4b73-a29e-678838cd8acd" providerId="ADAL" clId="{A12E206A-4C27-49C9-9C65-03FB9E0A52A0}" dt="2023-04-18T10:17:02.717" v="64"/>
          <pc:sldLayoutMkLst>
            <pc:docMk/>
            <pc:sldMasterMk cId="1369645148" sldId="2147483790"/>
            <pc:sldLayoutMk cId="1943895301" sldId="2147483845"/>
          </pc:sldLayoutMkLst>
          <pc:spChg chg="add mod">
            <ac:chgData name="Hans Gelissen (DHL SSC Maastricht)" userId="1afa8510-4eed-4b73-a29e-678838cd8acd" providerId="ADAL" clId="{A12E206A-4C27-49C9-9C65-03FB9E0A52A0}" dt="2023-04-18T10:17:02.717" v="64"/>
            <ac:spMkLst>
              <pc:docMk/>
              <pc:sldMasterMk cId="1369645148" sldId="2147483790"/>
              <pc:sldLayoutMk cId="1943895301" sldId="2147483845"/>
              <ac:spMk id="2" creationId="{F9E8E79C-94DF-5ACB-9CA6-D9369BE764FB}"/>
            </ac:spMkLst>
          </pc:spChg>
        </pc:sldLayoutChg>
        <pc:sldLayoutChg chg="addSp modSp">
          <pc:chgData name="Hans Gelissen (DHL SSC Maastricht)" userId="1afa8510-4eed-4b73-a29e-678838cd8acd" providerId="ADAL" clId="{A12E206A-4C27-49C9-9C65-03FB9E0A52A0}" dt="2023-04-18T10:17:03.215" v="65"/>
          <pc:sldLayoutMkLst>
            <pc:docMk/>
            <pc:sldMasterMk cId="1369645148" sldId="2147483790"/>
            <pc:sldLayoutMk cId="2772115122" sldId="2147483846"/>
          </pc:sldLayoutMkLst>
          <pc:spChg chg="add mod">
            <ac:chgData name="Hans Gelissen (DHL SSC Maastricht)" userId="1afa8510-4eed-4b73-a29e-678838cd8acd" providerId="ADAL" clId="{A12E206A-4C27-49C9-9C65-03FB9E0A52A0}" dt="2023-04-18T10:17:03.215" v="65"/>
            <ac:spMkLst>
              <pc:docMk/>
              <pc:sldMasterMk cId="1369645148" sldId="2147483790"/>
              <pc:sldLayoutMk cId="2772115122" sldId="2147483846"/>
              <ac:spMk id="2" creationId="{2A2B4C7B-0CCD-A517-9DFD-4D0DD12C4534}"/>
            </ac:spMkLst>
          </pc:spChg>
        </pc:sldLayoutChg>
        <pc:sldLayoutChg chg="addSp modSp">
          <pc:chgData name="Hans Gelissen (DHL SSC Maastricht)" userId="1afa8510-4eed-4b73-a29e-678838cd8acd" providerId="ADAL" clId="{A12E206A-4C27-49C9-9C65-03FB9E0A52A0}" dt="2023-04-18T10:17:03.644" v="66"/>
          <pc:sldLayoutMkLst>
            <pc:docMk/>
            <pc:sldMasterMk cId="1369645148" sldId="2147483790"/>
            <pc:sldLayoutMk cId="2373569907" sldId="2147483847"/>
          </pc:sldLayoutMkLst>
          <pc:spChg chg="add mod">
            <ac:chgData name="Hans Gelissen (DHL SSC Maastricht)" userId="1afa8510-4eed-4b73-a29e-678838cd8acd" providerId="ADAL" clId="{A12E206A-4C27-49C9-9C65-03FB9E0A52A0}" dt="2023-04-18T10:17:03.644" v="66"/>
            <ac:spMkLst>
              <pc:docMk/>
              <pc:sldMasterMk cId="1369645148" sldId="2147483790"/>
              <pc:sldLayoutMk cId="2373569907" sldId="2147483847"/>
              <ac:spMk id="2" creationId="{6F17382C-2B9B-FBCD-45D9-748CAA94F9DD}"/>
            </ac:spMkLst>
          </pc:spChg>
        </pc:sldLayoutChg>
        <pc:sldLayoutChg chg="addSp modSp">
          <pc:chgData name="Hans Gelissen (DHL SSC Maastricht)" userId="1afa8510-4eed-4b73-a29e-678838cd8acd" providerId="ADAL" clId="{A12E206A-4C27-49C9-9C65-03FB9E0A52A0}" dt="2023-04-18T10:17:06.442" v="67"/>
          <pc:sldLayoutMkLst>
            <pc:docMk/>
            <pc:sldMasterMk cId="1369645148" sldId="2147483790"/>
            <pc:sldLayoutMk cId="3743593104" sldId="2147483848"/>
          </pc:sldLayoutMkLst>
          <pc:spChg chg="add mod">
            <ac:chgData name="Hans Gelissen (DHL SSC Maastricht)" userId="1afa8510-4eed-4b73-a29e-678838cd8acd" providerId="ADAL" clId="{A12E206A-4C27-49C9-9C65-03FB9E0A52A0}" dt="2023-04-18T10:17:06.442" v="67"/>
            <ac:spMkLst>
              <pc:docMk/>
              <pc:sldMasterMk cId="1369645148" sldId="2147483790"/>
              <pc:sldLayoutMk cId="3743593104" sldId="2147483848"/>
              <ac:spMk id="2" creationId="{2C22D26E-9BC9-152A-A1A8-F6BE39BC5017}"/>
            </ac:spMkLst>
          </pc:spChg>
        </pc:sldLayoutChg>
        <pc:sldLayoutChg chg="addSp modSp">
          <pc:chgData name="Hans Gelissen (DHL SSC Maastricht)" userId="1afa8510-4eed-4b73-a29e-678838cd8acd" providerId="ADAL" clId="{A12E206A-4C27-49C9-9C65-03FB9E0A52A0}" dt="2023-04-18T10:17:07.035" v="68"/>
          <pc:sldLayoutMkLst>
            <pc:docMk/>
            <pc:sldMasterMk cId="1369645148" sldId="2147483790"/>
            <pc:sldLayoutMk cId="1234143409" sldId="2147483900"/>
          </pc:sldLayoutMkLst>
          <pc:spChg chg="add mod">
            <ac:chgData name="Hans Gelissen (DHL SSC Maastricht)" userId="1afa8510-4eed-4b73-a29e-678838cd8acd" providerId="ADAL" clId="{A12E206A-4C27-49C9-9C65-03FB9E0A52A0}" dt="2023-04-18T10:17:07.035" v="68"/>
            <ac:spMkLst>
              <pc:docMk/>
              <pc:sldMasterMk cId="1369645148" sldId="2147483790"/>
              <pc:sldLayoutMk cId="1234143409" sldId="2147483900"/>
              <ac:spMk id="2" creationId="{604926F4-F1D8-5F88-6EC4-D0099F1AEFC0}"/>
            </ac:spMkLst>
          </pc:spChg>
        </pc:sldLayoutChg>
        <pc:sldLayoutChg chg="addSp modSp">
          <pc:chgData name="Hans Gelissen (DHL SSC Maastricht)" userId="1afa8510-4eed-4b73-a29e-678838cd8acd" providerId="ADAL" clId="{A12E206A-4C27-49C9-9C65-03FB9E0A52A0}" dt="2023-04-18T10:17:07.416" v="69"/>
          <pc:sldLayoutMkLst>
            <pc:docMk/>
            <pc:sldMasterMk cId="1369645148" sldId="2147483790"/>
            <pc:sldLayoutMk cId="4262359168" sldId="2147483901"/>
          </pc:sldLayoutMkLst>
          <pc:spChg chg="add mod">
            <ac:chgData name="Hans Gelissen (DHL SSC Maastricht)" userId="1afa8510-4eed-4b73-a29e-678838cd8acd" providerId="ADAL" clId="{A12E206A-4C27-49C9-9C65-03FB9E0A52A0}" dt="2023-04-18T10:17:07.416" v="69"/>
            <ac:spMkLst>
              <pc:docMk/>
              <pc:sldMasterMk cId="1369645148" sldId="2147483790"/>
              <pc:sldLayoutMk cId="4262359168" sldId="2147483901"/>
              <ac:spMk id="2" creationId="{EDB224E9-AD85-8940-C67B-9B7A36BF5EC4}"/>
            </ac:spMkLst>
          </pc:spChg>
        </pc:sldLayoutChg>
        <pc:sldLayoutChg chg="addSp modSp">
          <pc:chgData name="Hans Gelissen (DHL SSC Maastricht)" userId="1afa8510-4eed-4b73-a29e-678838cd8acd" providerId="ADAL" clId="{A12E206A-4C27-49C9-9C65-03FB9E0A52A0}" dt="2023-04-18T10:17:07.799" v="70"/>
          <pc:sldLayoutMkLst>
            <pc:docMk/>
            <pc:sldMasterMk cId="1369645148" sldId="2147483790"/>
            <pc:sldLayoutMk cId="2696547024" sldId="2147483902"/>
          </pc:sldLayoutMkLst>
          <pc:spChg chg="add mod">
            <ac:chgData name="Hans Gelissen (DHL SSC Maastricht)" userId="1afa8510-4eed-4b73-a29e-678838cd8acd" providerId="ADAL" clId="{A12E206A-4C27-49C9-9C65-03FB9E0A52A0}" dt="2023-04-18T10:17:07.799" v="70"/>
            <ac:spMkLst>
              <pc:docMk/>
              <pc:sldMasterMk cId="1369645148" sldId="2147483790"/>
              <pc:sldLayoutMk cId="2696547024" sldId="2147483902"/>
              <ac:spMk id="2" creationId="{52348451-0E59-7072-1125-10F07E0F30D8}"/>
            </ac:spMkLst>
          </pc:spChg>
        </pc:sldLayoutChg>
        <pc:sldLayoutChg chg="addSp modSp">
          <pc:chgData name="Hans Gelissen (DHL SSC Maastricht)" userId="1afa8510-4eed-4b73-a29e-678838cd8acd" providerId="ADAL" clId="{A12E206A-4C27-49C9-9C65-03FB9E0A52A0}" dt="2023-04-18T10:17:08.235" v="71"/>
          <pc:sldLayoutMkLst>
            <pc:docMk/>
            <pc:sldMasterMk cId="1369645148" sldId="2147483790"/>
            <pc:sldLayoutMk cId="4024878256" sldId="2147483903"/>
          </pc:sldLayoutMkLst>
          <pc:spChg chg="add mod">
            <ac:chgData name="Hans Gelissen (DHL SSC Maastricht)" userId="1afa8510-4eed-4b73-a29e-678838cd8acd" providerId="ADAL" clId="{A12E206A-4C27-49C9-9C65-03FB9E0A52A0}" dt="2023-04-18T10:17:08.235" v="71"/>
            <ac:spMkLst>
              <pc:docMk/>
              <pc:sldMasterMk cId="1369645148" sldId="2147483790"/>
              <pc:sldLayoutMk cId="4024878256" sldId="2147483903"/>
              <ac:spMk id="2" creationId="{2C8BE9FF-2BB1-4891-9F91-D5DDE7B0099E}"/>
            </ac:spMkLst>
          </pc:spChg>
        </pc:sldLayoutChg>
        <pc:sldLayoutChg chg="addSp modSp">
          <pc:chgData name="Hans Gelissen (DHL SSC Maastricht)" userId="1afa8510-4eed-4b73-a29e-678838cd8acd" providerId="ADAL" clId="{A12E206A-4C27-49C9-9C65-03FB9E0A52A0}" dt="2023-04-18T10:17:10.673" v="72"/>
          <pc:sldLayoutMkLst>
            <pc:docMk/>
            <pc:sldMasterMk cId="1369645148" sldId="2147483790"/>
            <pc:sldLayoutMk cId="2875832596" sldId="2147483963"/>
          </pc:sldLayoutMkLst>
          <pc:spChg chg="add mod">
            <ac:chgData name="Hans Gelissen (DHL SSC Maastricht)" userId="1afa8510-4eed-4b73-a29e-678838cd8acd" providerId="ADAL" clId="{A12E206A-4C27-49C9-9C65-03FB9E0A52A0}" dt="2023-04-18T10:17:10.673" v="72"/>
            <ac:spMkLst>
              <pc:docMk/>
              <pc:sldMasterMk cId="1369645148" sldId="2147483790"/>
              <pc:sldLayoutMk cId="2875832596" sldId="2147483963"/>
              <ac:spMk id="2" creationId="{06E58E42-850A-642E-881A-2234FFF86B19}"/>
            </ac:spMkLst>
          </pc:spChg>
        </pc:sldLayoutChg>
        <pc:sldLayoutChg chg="addSp modSp">
          <pc:chgData name="Hans Gelissen (DHL SSC Maastricht)" userId="1afa8510-4eed-4b73-a29e-678838cd8acd" providerId="ADAL" clId="{A12E206A-4C27-49C9-9C65-03FB9E0A52A0}" dt="2023-04-18T10:17:15.759" v="77"/>
          <pc:sldLayoutMkLst>
            <pc:docMk/>
            <pc:sldMasterMk cId="1369645148" sldId="2147483790"/>
            <pc:sldLayoutMk cId="1994915095" sldId="2147483964"/>
          </pc:sldLayoutMkLst>
          <pc:spChg chg="add mod">
            <ac:chgData name="Hans Gelissen (DHL SSC Maastricht)" userId="1afa8510-4eed-4b73-a29e-678838cd8acd" providerId="ADAL" clId="{A12E206A-4C27-49C9-9C65-03FB9E0A52A0}" dt="2023-04-18T10:17:15.759" v="77"/>
            <ac:spMkLst>
              <pc:docMk/>
              <pc:sldMasterMk cId="1369645148" sldId="2147483790"/>
              <pc:sldLayoutMk cId="1994915095" sldId="2147483964"/>
              <ac:spMk id="2" creationId="{02F82E83-09F9-0167-70CF-3A81F890A1A3}"/>
            </ac:spMkLst>
          </pc:spChg>
        </pc:sldLayoutChg>
        <pc:sldLayoutChg chg="addSp modSp">
          <pc:chgData name="Hans Gelissen (DHL SSC Maastricht)" userId="1afa8510-4eed-4b73-a29e-678838cd8acd" providerId="ADAL" clId="{A12E206A-4C27-49C9-9C65-03FB9E0A52A0}" dt="2023-04-18T10:17:16.122" v="78"/>
          <pc:sldLayoutMkLst>
            <pc:docMk/>
            <pc:sldMasterMk cId="1369645148" sldId="2147483790"/>
            <pc:sldLayoutMk cId="2771766758" sldId="2147483965"/>
          </pc:sldLayoutMkLst>
          <pc:spChg chg="add mod">
            <ac:chgData name="Hans Gelissen (DHL SSC Maastricht)" userId="1afa8510-4eed-4b73-a29e-678838cd8acd" providerId="ADAL" clId="{A12E206A-4C27-49C9-9C65-03FB9E0A52A0}" dt="2023-04-18T10:17:16.122" v="78"/>
            <ac:spMkLst>
              <pc:docMk/>
              <pc:sldMasterMk cId="1369645148" sldId="2147483790"/>
              <pc:sldLayoutMk cId="2771766758" sldId="2147483965"/>
              <ac:spMk id="2" creationId="{4681F249-64D6-2B9C-50FE-89D13B9D3D0E}"/>
            </ac:spMkLst>
          </pc:spChg>
        </pc:sldLayoutChg>
        <pc:sldLayoutChg chg="addSp modSp">
          <pc:chgData name="Hans Gelissen (DHL SSC Maastricht)" userId="1afa8510-4eed-4b73-a29e-678838cd8acd" providerId="ADAL" clId="{A12E206A-4C27-49C9-9C65-03FB9E0A52A0}" dt="2023-04-18T10:17:16.590" v="79"/>
          <pc:sldLayoutMkLst>
            <pc:docMk/>
            <pc:sldMasterMk cId="1369645148" sldId="2147483790"/>
            <pc:sldLayoutMk cId="428736053" sldId="2147483966"/>
          </pc:sldLayoutMkLst>
          <pc:spChg chg="add mod">
            <ac:chgData name="Hans Gelissen (DHL SSC Maastricht)" userId="1afa8510-4eed-4b73-a29e-678838cd8acd" providerId="ADAL" clId="{A12E206A-4C27-49C9-9C65-03FB9E0A52A0}" dt="2023-04-18T10:17:16.590" v="79"/>
            <ac:spMkLst>
              <pc:docMk/>
              <pc:sldMasterMk cId="1369645148" sldId="2147483790"/>
              <pc:sldLayoutMk cId="428736053" sldId="2147483966"/>
              <ac:spMk id="2" creationId="{6CC04867-27C9-96F2-87EE-0D36ED363ED9}"/>
            </ac:spMkLst>
          </pc:spChg>
        </pc:sldLayoutChg>
        <pc:sldLayoutChg chg="addSp modSp">
          <pc:chgData name="Hans Gelissen (DHL SSC Maastricht)" userId="1afa8510-4eed-4b73-a29e-678838cd8acd" providerId="ADAL" clId="{A12E206A-4C27-49C9-9C65-03FB9E0A52A0}" dt="2023-04-18T10:17:11.083" v="73"/>
          <pc:sldLayoutMkLst>
            <pc:docMk/>
            <pc:sldMasterMk cId="1369645148" sldId="2147483790"/>
            <pc:sldLayoutMk cId="3374739531" sldId="2147483967"/>
          </pc:sldLayoutMkLst>
          <pc:spChg chg="add mod">
            <ac:chgData name="Hans Gelissen (DHL SSC Maastricht)" userId="1afa8510-4eed-4b73-a29e-678838cd8acd" providerId="ADAL" clId="{A12E206A-4C27-49C9-9C65-03FB9E0A52A0}" dt="2023-04-18T10:17:11.083" v="73"/>
            <ac:spMkLst>
              <pc:docMk/>
              <pc:sldMasterMk cId="1369645148" sldId="2147483790"/>
              <pc:sldLayoutMk cId="3374739531" sldId="2147483967"/>
              <ac:spMk id="2" creationId="{C681E71E-39C1-10C1-168F-75D331B10F78}"/>
            </ac:spMkLst>
          </pc:spChg>
        </pc:sldLayoutChg>
        <pc:sldLayoutChg chg="addSp modSp">
          <pc:chgData name="Hans Gelissen (DHL SSC Maastricht)" userId="1afa8510-4eed-4b73-a29e-678838cd8acd" providerId="ADAL" clId="{A12E206A-4C27-49C9-9C65-03FB9E0A52A0}" dt="2023-04-18T10:17:11.455" v="74"/>
          <pc:sldLayoutMkLst>
            <pc:docMk/>
            <pc:sldMasterMk cId="1369645148" sldId="2147483790"/>
            <pc:sldLayoutMk cId="372204976" sldId="2147483968"/>
          </pc:sldLayoutMkLst>
          <pc:spChg chg="add mod">
            <ac:chgData name="Hans Gelissen (DHL SSC Maastricht)" userId="1afa8510-4eed-4b73-a29e-678838cd8acd" providerId="ADAL" clId="{A12E206A-4C27-49C9-9C65-03FB9E0A52A0}" dt="2023-04-18T10:17:11.455" v="74"/>
            <ac:spMkLst>
              <pc:docMk/>
              <pc:sldMasterMk cId="1369645148" sldId="2147483790"/>
              <pc:sldLayoutMk cId="372204976" sldId="2147483968"/>
              <ac:spMk id="2" creationId="{AACB6144-4CDC-F0A7-8C64-E9E7D840D066}"/>
            </ac:spMkLst>
          </pc:spChg>
        </pc:sldLayoutChg>
        <pc:sldLayoutChg chg="addSp modSp">
          <pc:chgData name="Hans Gelissen (DHL SSC Maastricht)" userId="1afa8510-4eed-4b73-a29e-678838cd8acd" providerId="ADAL" clId="{A12E206A-4C27-49C9-9C65-03FB9E0A52A0}" dt="2023-04-18T10:17:11.990" v="75"/>
          <pc:sldLayoutMkLst>
            <pc:docMk/>
            <pc:sldMasterMk cId="1369645148" sldId="2147483790"/>
            <pc:sldLayoutMk cId="2974460564" sldId="2147483969"/>
          </pc:sldLayoutMkLst>
          <pc:spChg chg="add mod">
            <ac:chgData name="Hans Gelissen (DHL SSC Maastricht)" userId="1afa8510-4eed-4b73-a29e-678838cd8acd" providerId="ADAL" clId="{A12E206A-4C27-49C9-9C65-03FB9E0A52A0}" dt="2023-04-18T10:17:11.990" v="75"/>
            <ac:spMkLst>
              <pc:docMk/>
              <pc:sldMasterMk cId="1369645148" sldId="2147483790"/>
              <pc:sldLayoutMk cId="2974460564" sldId="2147483969"/>
              <ac:spMk id="2" creationId="{A07D941F-CED7-1849-ED94-268CDDE2A66A}"/>
            </ac:spMkLst>
          </pc:spChg>
        </pc:sldLayoutChg>
        <pc:sldLayoutChg chg="addSp modSp">
          <pc:chgData name="Hans Gelissen (DHL SSC Maastricht)" userId="1afa8510-4eed-4b73-a29e-678838cd8acd" providerId="ADAL" clId="{A12E206A-4C27-49C9-9C65-03FB9E0A52A0}" dt="2023-04-18T10:17:12.393" v="76"/>
          <pc:sldLayoutMkLst>
            <pc:docMk/>
            <pc:sldMasterMk cId="1369645148" sldId="2147483790"/>
            <pc:sldLayoutMk cId="2919855449" sldId="2147483970"/>
          </pc:sldLayoutMkLst>
          <pc:spChg chg="add mod">
            <ac:chgData name="Hans Gelissen (DHL SSC Maastricht)" userId="1afa8510-4eed-4b73-a29e-678838cd8acd" providerId="ADAL" clId="{A12E206A-4C27-49C9-9C65-03FB9E0A52A0}" dt="2023-04-18T10:17:12.393" v="76"/>
            <ac:spMkLst>
              <pc:docMk/>
              <pc:sldMasterMk cId="1369645148" sldId="2147483790"/>
              <pc:sldLayoutMk cId="2919855449" sldId="2147483970"/>
              <ac:spMk id="2" creationId="{062F1AEE-9D24-0048-7F2B-C4962CBB622A}"/>
            </ac:spMkLst>
          </pc:spChg>
        </pc:sldLayoutChg>
      </pc:sldMasterChg>
      <pc:sldMasterChg chg="modSldLayout">
        <pc:chgData name="Hans Gelissen (DHL SSC Maastricht)" userId="1afa8510-4eed-4b73-a29e-678838cd8acd" providerId="ADAL" clId="{A12E206A-4C27-49C9-9C65-03FB9E0A52A0}" dt="2023-04-28T10:05:38.217" v="340" actId="6014"/>
        <pc:sldMasterMkLst>
          <pc:docMk/>
          <pc:sldMasterMk cId="1868986140" sldId="2147483797"/>
        </pc:sldMasterMkLst>
        <pc:sldLayoutChg chg="addSp delSp modSp mod">
          <pc:chgData name="Hans Gelissen (DHL SSC Maastricht)" userId="1afa8510-4eed-4b73-a29e-678838cd8acd" providerId="ADAL" clId="{A12E206A-4C27-49C9-9C65-03FB9E0A52A0}" dt="2023-04-28T10:05:38.217" v="340" actId="6014"/>
          <pc:sldLayoutMkLst>
            <pc:docMk/>
            <pc:sldMasterMk cId="1868986140" sldId="2147483797"/>
            <pc:sldLayoutMk cId="3374177708" sldId="2147484029"/>
          </pc:sldLayoutMkLst>
          <pc:spChg chg="add del mod">
            <ac:chgData name="Hans Gelissen (DHL SSC Maastricht)" userId="1afa8510-4eed-4b73-a29e-678838cd8acd" providerId="ADAL" clId="{A12E206A-4C27-49C9-9C65-03FB9E0A52A0}" dt="2023-04-28T10:04:50.512" v="339" actId="478"/>
            <ac:spMkLst>
              <pc:docMk/>
              <pc:sldMasterMk cId="1868986140" sldId="2147483797"/>
              <pc:sldLayoutMk cId="3374177708" sldId="2147484029"/>
              <ac:spMk id="2" creationId="{D43933F2-7B92-062A-0B97-555C36C00ADA}"/>
            </ac:spMkLst>
          </pc:spChg>
        </pc:sldLayoutChg>
      </pc:sldMasterChg>
      <pc:sldMasterChg chg="modSldLayout">
        <pc:chgData name="Hans Gelissen (DHL SSC Maastricht)" userId="1afa8510-4eed-4b73-a29e-678838cd8acd" providerId="ADAL" clId="{A12E206A-4C27-49C9-9C65-03FB9E0A52A0}" dt="2023-04-18T10:18:49.822" v="122"/>
        <pc:sldMasterMkLst>
          <pc:docMk/>
          <pc:sldMasterMk cId="380743489" sldId="2147483798"/>
        </pc:sldMasterMkLst>
        <pc:sldLayoutChg chg="addSp modSp">
          <pc:chgData name="Hans Gelissen (DHL SSC Maastricht)" userId="1afa8510-4eed-4b73-a29e-678838cd8acd" providerId="ADAL" clId="{A12E206A-4C27-49C9-9C65-03FB9E0A52A0}" dt="2023-04-18T10:18:33.942" v="103"/>
          <pc:sldLayoutMkLst>
            <pc:docMk/>
            <pc:sldMasterMk cId="380743489" sldId="2147483798"/>
            <pc:sldLayoutMk cId="3165067286" sldId="2147483799"/>
          </pc:sldLayoutMkLst>
          <pc:spChg chg="add mod">
            <ac:chgData name="Hans Gelissen (DHL SSC Maastricht)" userId="1afa8510-4eed-4b73-a29e-678838cd8acd" providerId="ADAL" clId="{A12E206A-4C27-49C9-9C65-03FB9E0A52A0}" dt="2023-04-18T10:18:33.942" v="103"/>
            <ac:spMkLst>
              <pc:docMk/>
              <pc:sldMasterMk cId="380743489" sldId="2147483798"/>
              <pc:sldLayoutMk cId="3165067286" sldId="2147483799"/>
              <ac:spMk id="2" creationId="{8FB74730-EACE-9ACD-B68F-7CBB63F63F0F}"/>
            </ac:spMkLst>
          </pc:spChg>
        </pc:sldLayoutChg>
        <pc:sldLayoutChg chg="addSp modSp">
          <pc:chgData name="Hans Gelissen (DHL SSC Maastricht)" userId="1afa8510-4eed-4b73-a29e-678838cd8acd" providerId="ADAL" clId="{A12E206A-4C27-49C9-9C65-03FB9E0A52A0}" dt="2023-04-18T10:18:34.589" v="104"/>
          <pc:sldLayoutMkLst>
            <pc:docMk/>
            <pc:sldMasterMk cId="380743489" sldId="2147483798"/>
            <pc:sldLayoutMk cId="3551274112" sldId="2147483811"/>
          </pc:sldLayoutMkLst>
          <pc:spChg chg="add mod">
            <ac:chgData name="Hans Gelissen (DHL SSC Maastricht)" userId="1afa8510-4eed-4b73-a29e-678838cd8acd" providerId="ADAL" clId="{A12E206A-4C27-49C9-9C65-03FB9E0A52A0}" dt="2023-04-18T10:18:34.589" v="104"/>
            <ac:spMkLst>
              <pc:docMk/>
              <pc:sldMasterMk cId="380743489" sldId="2147483798"/>
              <pc:sldLayoutMk cId="3551274112" sldId="2147483811"/>
              <ac:spMk id="2" creationId="{4C50A551-1129-64D1-73AC-7ACF792F9B5E}"/>
            </ac:spMkLst>
          </pc:spChg>
        </pc:sldLayoutChg>
        <pc:sldLayoutChg chg="addSp modSp">
          <pc:chgData name="Hans Gelissen (DHL SSC Maastricht)" userId="1afa8510-4eed-4b73-a29e-678838cd8acd" providerId="ADAL" clId="{A12E206A-4C27-49C9-9C65-03FB9E0A52A0}" dt="2023-04-18T10:18:34.961" v="105"/>
          <pc:sldLayoutMkLst>
            <pc:docMk/>
            <pc:sldMasterMk cId="380743489" sldId="2147483798"/>
            <pc:sldLayoutMk cId="1975890743" sldId="2147483812"/>
          </pc:sldLayoutMkLst>
          <pc:spChg chg="add mod">
            <ac:chgData name="Hans Gelissen (DHL SSC Maastricht)" userId="1afa8510-4eed-4b73-a29e-678838cd8acd" providerId="ADAL" clId="{A12E206A-4C27-49C9-9C65-03FB9E0A52A0}" dt="2023-04-18T10:18:34.961" v="105"/>
            <ac:spMkLst>
              <pc:docMk/>
              <pc:sldMasterMk cId="380743489" sldId="2147483798"/>
              <pc:sldLayoutMk cId="1975890743" sldId="2147483812"/>
              <ac:spMk id="2" creationId="{C5E28783-6439-657D-952D-806C92FD6B74}"/>
            </ac:spMkLst>
          </pc:spChg>
        </pc:sldLayoutChg>
        <pc:sldLayoutChg chg="addSp modSp">
          <pc:chgData name="Hans Gelissen (DHL SSC Maastricht)" userId="1afa8510-4eed-4b73-a29e-678838cd8acd" providerId="ADAL" clId="{A12E206A-4C27-49C9-9C65-03FB9E0A52A0}" dt="2023-04-18T10:18:49.822" v="122"/>
          <pc:sldLayoutMkLst>
            <pc:docMk/>
            <pc:sldMasterMk cId="380743489" sldId="2147483798"/>
            <pc:sldLayoutMk cId="718631429" sldId="2147483813"/>
          </pc:sldLayoutMkLst>
          <pc:spChg chg="add mod">
            <ac:chgData name="Hans Gelissen (DHL SSC Maastricht)" userId="1afa8510-4eed-4b73-a29e-678838cd8acd" providerId="ADAL" clId="{A12E206A-4C27-49C9-9C65-03FB9E0A52A0}" dt="2023-04-18T10:18:49.822" v="122"/>
            <ac:spMkLst>
              <pc:docMk/>
              <pc:sldMasterMk cId="380743489" sldId="2147483798"/>
              <pc:sldLayoutMk cId="718631429" sldId="2147483813"/>
              <ac:spMk id="2" creationId="{A80287C8-7282-DB87-6C05-E56D612B1A1D}"/>
            </ac:spMkLst>
          </pc:spChg>
        </pc:sldLayoutChg>
        <pc:sldLayoutChg chg="addSp modSp">
          <pc:chgData name="Hans Gelissen (DHL SSC Maastricht)" userId="1afa8510-4eed-4b73-a29e-678838cd8acd" providerId="ADAL" clId="{A12E206A-4C27-49C9-9C65-03FB9E0A52A0}" dt="2023-04-18T10:18:36.856" v="107"/>
          <pc:sldLayoutMkLst>
            <pc:docMk/>
            <pc:sldMasterMk cId="380743489" sldId="2147483798"/>
            <pc:sldLayoutMk cId="1447749584" sldId="2147483858"/>
          </pc:sldLayoutMkLst>
          <pc:spChg chg="add mod">
            <ac:chgData name="Hans Gelissen (DHL SSC Maastricht)" userId="1afa8510-4eed-4b73-a29e-678838cd8acd" providerId="ADAL" clId="{A12E206A-4C27-49C9-9C65-03FB9E0A52A0}" dt="2023-04-18T10:18:36.856" v="107"/>
            <ac:spMkLst>
              <pc:docMk/>
              <pc:sldMasterMk cId="380743489" sldId="2147483798"/>
              <pc:sldLayoutMk cId="1447749584" sldId="2147483858"/>
              <ac:spMk id="2" creationId="{07B43CEA-775B-1611-A357-F459FD5B4E26}"/>
            </ac:spMkLst>
          </pc:spChg>
        </pc:sldLayoutChg>
        <pc:sldLayoutChg chg="addSp modSp">
          <pc:chgData name="Hans Gelissen (DHL SSC Maastricht)" userId="1afa8510-4eed-4b73-a29e-678838cd8acd" providerId="ADAL" clId="{A12E206A-4C27-49C9-9C65-03FB9E0A52A0}" dt="2023-04-18T10:18:37.192" v="108"/>
          <pc:sldLayoutMkLst>
            <pc:docMk/>
            <pc:sldMasterMk cId="380743489" sldId="2147483798"/>
            <pc:sldLayoutMk cId="3770817431" sldId="2147483859"/>
          </pc:sldLayoutMkLst>
          <pc:spChg chg="add mod">
            <ac:chgData name="Hans Gelissen (DHL SSC Maastricht)" userId="1afa8510-4eed-4b73-a29e-678838cd8acd" providerId="ADAL" clId="{A12E206A-4C27-49C9-9C65-03FB9E0A52A0}" dt="2023-04-18T10:18:37.192" v="108"/>
            <ac:spMkLst>
              <pc:docMk/>
              <pc:sldMasterMk cId="380743489" sldId="2147483798"/>
              <pc:sldLayoutMk cId="3770817431" sldId="2147483859"/>
              <ac:spMk id="2" creationId="{1C173192-5336-0151-0150-227934D1A49B}"/>
            </ac:spMkLst>
          </pc:spChg>
        </pc:sldLayoutChg>
        <pc:sldLayoutChg chg="addSp modSp">
          <pc:chgData name="Hans Gelissen (DHL SSC Maastricht)" userId="1afa8510-4eed-4b73-a29e-678838cd8acd" providerId="ADAL" clId="{A12E206A-4C27-49C9-9C65-03FB9E0A52A0}" dt="2023-04-18T10:18:38.967" v="109"/>
          <pc:sldLayoutMkLst>
            <pc:docMk/>
            <pc:sldMasterMk cId="380743489" sldId="2147483798"/>
            <pc:sldLayoutMk cId="3975550019" sldId="2147483860"/>
          </pc:sldLayoutMkLst>
          <pc:spChg chg="add mod">
            <ac:chgData name="Hans Gelissen (DHL SSC Maastricht)" userId="1afa8510-4eed-4b73-a29e-678838cd8acd" providerId="ADAL" clId="{A12E206A-4C27-49C9-9C65-03FB9E0A52A0}" dt="2023-04-18T10:18:38.967" v="109"/>
            <ac:spMkLst>
              <pc:docMk/>
              <pc:sldMasterMk cId="380743489" sldId="2147483798"/>
              <pc:sldLayoutMk cId="3975550019" sldId="2147483860"/>
              <ac:spMk id="2" creationId="{2196BBEF-82B4-E3F0-9B57-1EA910B06821}"/>
            </ac:spMkLst>
          </pc:spChg>
        </pc:sldLayoutChg>
        <pc:sldLayoutChg chg="addSp modSp">
          <pc:chgData name="Hans Gelissen (DHL SSC Maastricht)" userId="1afa8510-4eed-4b73-a29e-678838cd8acd" providerId="ADAL" clId="{A12E206A-4C27-49C9-9C65-03FB9E0A52A0}" dt="2023-04-18T10:18:36.485" v="106"/>
          <pc:sldLayoutMkLst>
            <pc:docMk/>
            <pc:sldMasterMk cId="380743489" sldId="2147483798"/>
            <pc:sldLayoutMk cId="2196533840" sldId="2147483861"/>
          </pc:sldLayoutMkLst>
          <pc:spChg chg="add mod">
            <ac:chgData name="Hans Gelissen (DHL SSC Maastricht)" userId="1afa8510-4eed-4b73-a29e-678838cd8acd" providerId="ADAL" clId="{A12E206A-4C27-49C9-9C65-03FB9E0A52A0}" dt="2023-04-18T10:18:36.485" v="106"/>
            <ac:spMkLst>
              <pc:docMk/>
              <pc:sldMasterMk cId="380743489" sldId="2147483798"/>
              <pc:sldLayoutMk cId="2196533840" sldId="2147483861"/>
              <ac:spMk id="2" creationId="{16882CBF-992B-06F1-ACA2-99C833370FFA}"/>
            </ac:spMkLst>
          </pc:spChg>
        </pc:sldLayoutChg>
        <pc:sldLayoutChg chg="addSp modSp">
          <pc:chgData name="Hans Gelissen (DHL SSC Maastricht)" userId="1afa8510-4eed-4b73-a29e-678838cd8acd" providerId="ADAL" clId="{A12E206A-4C27-49C9-9C65-03FB9E0A52A0}" dt="2023-04-18T10:18:39.424" v="110"/>
          <pc:sldLayoutMkLst>
            <pc:docMk/>
            <pc:sldMasterMk cId="380743489" sldId="2147483798"/>
            <pc:sldLayoutMk cId="2558172010" sldId="2147483910"/>
          </pc:sldLayoutMkLst>
          <pc:spChg chg="add mod">
            <ac:chgData name="Hans Gelissen (DHL SSC Maastricht)" userId="1afa8510-4eed-4b73-a29e-678838cd8acd" providerId="ADAL" clId="{A12E206A-4C27-49C9-9C65-03FB9E0A52A0}" dt="2023-04-18T10:18:39.424" v="110"/>
            <ac:spMkLst>
              <pc:docMk/>
              <pc:sldMasterMk cId="380743489" sldId="2147483798"/>
              <pc:sldLayoutMk cId="2558172010" sldId="2147483910"/>
              <ac:spMk id="2" creationId="{EA31FA30-15FE-35BA-56FF-B59B64A418D4}"/>
            </ac:spMkLst>
          </pc:spChg>
        </pc:sldLayoutChg>
        <pc:sldLayoutChg chg="addSp modSp">
          <pc:chgData name="Hans Gelissen (DHL SSC Maastricht)" userId="1afa8510-4eed-4b73-a29e-678838cd8acd" providerId="ADAL" clId="{A12E206A-4C27-49C9-9C65-03FB9E0A52A0}" dt="2023-04-18T10:18:39.771" v="111"/>
          <pc:sldLayoutMkLst>
            <pc:docMk/>
            <pc:sldMasterMk cId="380743489" sldId="2147483798"/>
            <pc:sldLayoutMk cId="185021961" sldId="2147483911"/>
          </pc:sldLayoutMkLst>
          <pc:spChg chg="add mod">
            <ac:chgData name="Hans Gelissen (DHL SSC Maastricht)" userId="1afa8510-4eed-4b73-a29e-678838cd8acd" providerId="ADAL" clId="{A12E206A-4C27-49C9-9C65-03FB9E0A52A0}" dt="2023-04-18T10:18:39.771" v="111"/>
            <ac:spMkLst>
              <pc:docMk/>
              <pc:sldMasterMk cId="380743489" sldId="2147483798"/>
              <pc:sldLayoutMk cId="185021961" sldId="2147483911"/>
              <ac:spMk id="2" creationId="{8EE04900-C7BB-816D-AA87-9B597C188912}"/>
            </ac:spMkLst>
          </pc:spChg>
        </pc:sldLayoutChg>
        <pc:sldLayoutChg chg="addSp modSp">
          <pc:chgData name="Hans Gelissen (DHL SSC Maastricht)" userId="1afa8510-4eed-4b73-a29e-678838cd8acd" providerId="ADAL" clId="{A12E206A-4C27-49C9-9C65-03FB9E0A52A0}" dt="2023-04-18T10:18:40.240" v="112"/>
          <pc:sldLayoutMkLst>
            <pc:docMk/>
            <pc:sldMasterMk cId="380743489" sldId="2147483798"/>
            <pc:sldLayoutMk cId="1294134225" sldId="2147483912"/>
          </pc:sldLayoutMkLst>
          <pc:spChg chg="add mod">
            <ac:chgData name="Hans Gelissen (DHL SSC Maastricht)" userId="1afa8510-4eed-4b73-a29e-678838cd8acd" providerId="ADAL" clId="{A12E206A-4C27-49C9-9C65-03FB9E0A52A0}" dt="2023-04-18T10:18:40.240" v="112"/>
            <ac:spMkLst>
              <pc:docMk/>
              <pc:sldMasterMk cId="380743489" sldId="2147483798"/>
              <pc:sldLayoutMk cId="1294134225" sldId="2147483912"/>
              <ac:spMk id="2" creationId="{FE3FC44C-B20D-AB03-79C6-D86A3E1E0286}"/>
            </ac:spMkLst>
          </pc:spChg>
        </pc:sldLayoutChg>
        <pc:sldLayoutChg chg="addSp modSp">
          <pc:chgData name="Hans Gelissen (DHL SSC Maastricht)" userId="1afa8510-4eed-4b73-a29e-678838cd8acd" providerId="ADAL" clId="{A12E206A-4C27-49C9-9C65-03FB9E0A52A0}" dt="2023-04-18T10:18:42.683" v="113"/>
          <pc:sldLayoutMkLst>
            <pc:docMk/>
            <pc:sldMasterMk cId="380743489" sldId="2147483798"/>
            <pc:sldLayoutMk cId="3605607904" sldId="2147483913"/>
          </pc:sldLayoutMkLst>
          <pc:spChg chg="add mod">
            <ac:chgData name="Hans Gelissen (DHL SSC Maastricht)" userId="1afa8510-4eed-4b73-a29e-678838cd8acd" providerId="ADAL" clId="{A12E206A-4C27-49C9-9C65-03FB9E0A52A0}" dt="2023-04-18T10:18:42.683" v="113"/>
            <ac:spMkLst>
              <pc:docMk/>
              <pc:sldMasterMk cId="380743489" sldId="2147483798"/>
              <pc:sldLayoutMk cId="3605607904" sldId="2147483913"/>
              <ac:spMk id="2" creationId="{4AE82E02-6B0B-A577-B2F2-135213BC524B}"/>
            </ac:spMkLst>
          </pc:spChg>
        </pc:sldLayoutChg>
        <pc:sldLayoutChg chg="addSp modSp">
          <pc:chgData name="Hans Gelissen (DHL SSC Maastricht)" userId="1afa8510-4eed-4b73-a29e-678838cd8acd" providerId="ADAL" clId="{A12E206A-4C27-49C9-9C65-03FB9E0A52A0}" dt="2023-04-18T10:18:43.086" v="114"/>
          <pc:sldLayoutMkLst>
            <pc:docMk/>
            <pc:sldMasterMk cId="380743489" sldId="2147483798"/>
            <pc:sldLayoutMk cId="3620310099" sldId="2147483981"/>
          </pc:sldLayoutMkLst>
          <pc:spChg chg="add mod">
            <ac:chgData name="Hans Gelissen (DHL SSC Maastricht)" userId="1afa8510-4eed-4b73-a29e-678838cd8acd" providerId="ADAL" clId="{A12E206A-4C27-49C9-9C65-03FB9E0A52A0}" dt="2023-04-18T10:18:43.086" v="114"/>
            <ac:spMkLst>
              <pc:docMk/>
              <pc:sldMasterMk cId="380743489" sldId="2147483798"/>
              <pc:sldLayoutMk cId="3620310099" sldId="2147483981"/>
              <ac:spMk id="2" creationId="{300158F2-B5A0-9EE0-1CE8-CA53150D371A}"/>
            </ac:spMkLst>
          </pc:spChg>
        </pc:sldLayoutChg>
        <pc:sldLayoutChg chg="addSp modSp">
          <pc:chgData name="Hans Gelissen (DHL SSC Maastricht)" userId="1afa8510-4eed-4b73-a29e-678838cd8acd" providerId="ADAL" clId="{A12E206A-4C27-49C9-9C65-03FB9E0A52A0}" dt="2023-04-18T10:18:43.493" v="115"/>
          <pc:sldLayoutMkLst>
            <pc:docMk/>
            <pc:sldMasterMk cId="380743489" sldId="2147483798"/>
            <pc:sldLayoutMk cId="1179472784" sldId="2147483982"/>
          </pc:sldLayoutMkLst>
          <pc:spChg chg="add mod">
            <ac:chgData name="Hans Gelissen (DHL SSC Maastricht)" userId="1afa8510-4eed-4b73-a29e-678838cd8acd" providerId="ADAL" clId="{A12E206A-4C27-49C9-9C65-03FB9E0A52A0}" dt="2023-04-18T10:18:43.493" v="115"/>
            <ac:spMkLst>
              <pc:docMk/>
              <pc:sldMasterMk cId="380743489" sldId="2147483798"/>
              <pc:sldLayoutMk cId="1179472784" sldId="2147483982"/>
              <ac:spMk id="2" creationId="{14F483C1-B49C-330F-752A-78787FE57A8C}"/>
            </ac:spMkLst>
          </pc:spChg>
        </pc:sldLayoutChg>
        <pc:sldLayoutChg chg="addSp modSp">
          <pc:chgData name="Hans Gelissen (DHL SSC Maastricht)" userId="1afa8510-4eed-4b73-a29e-678838cd8acd" providerId="ADAL" clId="{A12E206A-4C27-49C9-9C65-03FB9E0A52A0}" dt="2023-04-18T10:18:43.890" v="116"/>
          <pc:sldLayoutMkLst>
            <pc:docMk/>
            <pc:sldMasterMk cId="380743489" sldId="2147483798"/>
            <pc:sldLayoutMk cId="743991180" sldId="2147483983"/>
          </pc:sldLayoutMkLst>
          <pc:spChg chg="add mod">
            <ac:chgData name="Hans Gelissen (DHL SSC Maastricht)" userId="1afa8510-4eed-4b73-a29e-678838cd8acd" providerId="ADAL" clId="{A12E206A-4C27-49C9-9C65-03FB9E0A52A0}" dt="2023-04-18T10:18:43.890" v="116"/>
            <ac:spMkLst>
              <pc:docMk/>
              <pc:sldMasterMk cId="380743489" sldId="2147483798"/>
              <pc:sldLayoutMk cId="743991180" sldId="2147483983"/>
              <ac:spMk id="2" creationId="{3C159B47-D0BD-9EFA-DDC5-404E9843B19D}"/>
            </ac:spMkLst>
          </pc:spChg>
        </pc:sldLayoutChg>
        <pc:sldLayoutChg chg="addSp modSp">
          <pc:chgData name="Hans Gelissen (DHL SSC Maastricht)" userId="1afa8510-4eed-4b73-a29e-678838cd8acd" providerId="ADAL" clId="{A12E206A-4C27-49C9-9C65-03FB9E0A52A0}" dt="2023-04-18T10:18:44.248" v="117"/>
          <pc:sldLayoutMkLst>
            <pc:docMk/>
            <pc:sldMasterMk cId="380743489" sldId="2147483798"/>
            <pc:sldLayoutMk cId="3889033995" sldId="2147483984"/>
          </pc:sldLayoutMkLst>
          <pc:spChg chg="add mod">
            <ac:chgData name="Hans Gelissen (DHL SSC Maastricht)" userId="1afa8510-4eed-4b73-a29e-678838cd8acd" providerId="ADAL" clId="{A12E206A-4C27-49C9-9C65-03FB9E0A52A0}" dt="2023-04-18T10:18:44.248" v="117"/>
            <ac:spMkLst>
              <pc:docMk/>
              <pc:sldMasterMk cId="380743489" sldId="2147483798"/>
              <pc:sldLayoutMk cId="3889033995" sldId="2147483984"/>
              <ac:spMk id="2" creationId="{9074426F-5955-9658-D480-559C2ED11E30}"/>
            </ac:spMkLst>
          </pc:spChg>
        </pc:sldLayoutChg>
        <pc:sldLayoutChg chg="addSp modSp">
          <pc:chgData name="Hans Gelissen (DHL SSC Maastricht)" userId="1afa8510-4eed-4b73-a29e-678838cd8acd" providerId="ADAL" clId="{A12E206A-4C27-49C9-9C65-03FB9E0A52A0}" dt="2023-04-18T10:18:46.158" v="118"/>
          <pc:sldLayoutMkLst>
            <pc:docMk/>
            <pc:sldMasterMk cId="380743489" sldId="2147483798"/>
            <pc:sldLayoutMk cId="2170927799" sldId="2147483985"/>
          </pc:sldLayoutMkLst>
          <pc:spChg chg="add mod">
            <ac:chgData name="Hans Gelissen (DHL SSC Maastricht)" userId="1afa8510-4eed-4b73-a29e-678838cd8acd" providerId="ADAL" clId="{A12E206A-4C27-49C9-9C65-03FB9E0A52A0}" dt="2023-04-18T10:18:46.158" v="118"/>
            <ac:spMkLst>
              <pc:docMk/>
              <pc:sldMasterMk cId="380743489" sldId="2147483798"/>
              <pc:sldLayoutMk cId="2170927799" sldId="2147483985"/>
              <ac:spMk id="2" creationId="{21B01A5D-3C4C-DA11-5B02-1B7BD66D2933}"/>
            </ac:spMkLst>
          </pc:spChg>
        </pc:sldLayoutChg>
        <pc:sldLayoutChg chg="addSp modSp">
          <pc:chgData name="Hans Gelissen (DHL SSC Maastricht)" userId="1afa8510-4eed-4b73-a29e-678838cd8acd" providerId="ADAL" clId="{A12E206A-4C27-49C9-9C65-03FB9E0A52A0}" dt="2023-04-18T10:18:46.533" v="119"/>
          <pc:sldLayoutMkLst>
            <pc:docMk/>
            <pc:sldMasterMk cId="380743489" sldId="2147483798"/>
            <pc:sldLayoutMk cId="853828882" sldId="2147483986"/>
          </pc:sldLayoutMkLst>
          <pc:spChg chg="add mod">
            <ac:chgData name="Hans Gelissen (DHL SSC Maastricht)" userId="1afa8510-4eed-4b73-a29e-678838cd8acd" providerId="ADAL" clId="{A12E206A-4C27-49C9-9C65-03FB9E0A52A0}" dt="2023-04-18T10:18:46.533" v="119"/>
            <ac:spMkLst>
              <pc:docMk/>
              <pc:sldMasterMk cId="380743489" sldId="2147483798"/>
              <pc:sldLayoutMk cId="853828882" sldId="2147483986"/>
              <ac:spMk id="2" creationId="{0956700F-9559-0327-1CE1-4336869F0B23}"/>
            </ac:spMkLst>
          </pc:spChg>
        </pc:sldLayoutChg>
        <pc:sldLayoutChg chg="addSp modSp">
          <pc:chgData name="Hans Gelissen (DHL SSC Maastricht)" userId="1afa8510-4eed-4b73-a29e-678838cd8acd" providerId="ADAL" clId="{A12E206A-4C27-49C9-9C65-03FB9E0A52A0}" dt="2023-04-18T10:18:46.950" v="120"/>
          <pc:sldLayoutMkLst>
            <pc:docMk/>
            <pc:sldMasterMk cId="380743489" sldId="2147483798"/>
            <pc:sldLayoutMk cId="2500544717" sldId="2147483987"/>
          </pc:sldLayoutMkLst>
          <pc:spChg chg="add mod">
            <ac:chgData name="Hans Gelissen (DHL SSC Maastricht)" userId="1afa8510-4eed-4b73-a29e-678838cd8acd" providerId="ADAL" clId="{A12E206A-4C27-49C9-9C65-03FB9E0A52A0}" dt="2023-04-18T10:18:46.950" v="120"/>
            <ac:spMkLst>
              <pc:docMk/>
              <pc:sldMasterMk cId="380743489" sldId="2147483798"/>
              <pc:sldLayoutMk cId="2500544717" sldId="2147483987"/>
              <ac:spMk id="2" creationId="{C405EF3F-4F6D-83C4-2999-C886731591DE}"/>
            </ac:spMkLst>
          </pc:spChg>
        </pc:sldLayoutChg>
        <pc:sldLayoutChg chg="addSp modSp">
          <pc:chgData name="Hans Gelissen (DHL SSC Maastricht)" userId="1afa8510-4eed-4b73-a29e-678838cd8acd" providerId="ADAL" clId="{A12E206A-4C27-49C9-9C65-03FB9E0A52A0}" dt="2023-04-18T10:18:47.260" v="121"/>
          <pc:sldLayoutMkLst>
            <pc:docMk/>
            <pc:sldMasterMk cId="380743489" sldId="2147483798"/>
            <pc:sldLayoutMk cId="428352869" sldId="2147483988"/>
          </pc:sldLayoutMkLst>
          <pc:spChg chg="add mod">
            <ac:chgData name="Hans Gelissen (DHL SSC Maastricht)" userId="1afa8510-4eed-4b73-a29e-678838cd8acd" providerId="ADAL" clId="{A12E206A-4C27-49C9-9C65-03FB9E0A52A0}" dt="2023-04-18T10:18:47.260" v="121"/>
            <ac:spMkLst>
              <pc:docMk/>
              <pc:sldMasterMk cId="380743489" sldId="2147483798"/>
              <pc:sldLayoutMk cId="428352869" sldId="2147483988"/>
              <ac:spMk id="2" creationId="{DE27A871-2DAA-A27C-6D89-71959D5BAA4C}"/>
            </ac:spMkLst>
          </pc:spChg>
        </pc:sldLayoutChg>
      </pc:sldMasterChg>
      <pc:sldMasterChg chg="addSldLayout delSldLayout modSldLayout">
        <pc:chgData name="Hans Gelissen (DHL SSC Maastricht)" userId="1afa8510-4eed-4b73-a29e-678838cd8acd" providerId="ADAL" clId="{A12E206A-4C27-49C9-9C65-03FB9E0A52A0}" dt="2023-04-28T09:55:51.321" v="251" actId="14100"/>
        <pc:sldMasterMkLst>
          <pc:docMk/>
          <pc:sldMasterMk cId="452284608" sldId="2147484031"/>
        </pc:sldMasterMkLst>
        <pc:sldLayoutChg chg="mod">
          <pc:chgData name="Hans Gelissen (DHL SSC Maastricht)" userId="1afa8510-4eed-4b73-a29e-678838cd8acd" providerId="ADAL" clId="{A12E206A-4C27-49C9-9C65-03FB9E0A52A0}" dt="2023-04-28T09:51:06.654" v="123" actId="6014"/>
          <pc:sldLayoutMkLst>
            <pc:docMk/>
            <pc:sldMasterMk cId="452284608" sldId="2147484031"/>
            <pc:sldLayoutMk cId="2137232494" sldId="2147484032"/>
          </pc:sldLayoutMkLst>
        </pc:sldLayoutChg>
        <pc:sldLayoutChg chg="addSp delSp modSp mod">
          <pc:chgData name="Hans Gelissen (DHL SSC Maastricht)" userId="1afa8510-4eed-4b73-a29e-678838cd8acd" providerId="ADAL" clId="{A12E206A-4C27-49C9-9C65-03FB9E0A52A0}" dt="2023-04-28T09:55:51.321" v="251" actId="14100"/>
          <pc:sldLayoutMkLst>
            <pc:docMk/>
            <pc:sldMasterMk cId="452284608" sldId="2147484031"/>
            <pc:sldLayoutMk cId="2987006883" sldId="2147484040"/>
          </pc:sldLayoutMkLst>
          <pc:spChg chg="add del">
            <ac:chgData name="Hans Gelissen (DHL SSC Maastricht)" userId="1afa8510-4eed-4b73-a29e-678838cd8acd" providerId="ADAL" clId="{A12E206A-4C27-49C9-9C65-03FB9E0A52A0}" dt="2023-04-28T09:54:52.193" v="134" actId="11529"/>
            <ac:spMkLst>
              <pc:docMk/>
              <pc:sldMasterMk cId="452284608" sldId="2147484031"/>
              <pc:sldLayoutMk cId="2987006883" sldId="2147484040"/>
              <ac:spMk id="2" creationId="{6D356968-3866-DFE5-45D7-217F03C907C3}"/>
            </ac:spMkLst>
          </pc:spChg>
          <pc:spChg chg="add mod">
            <ac:chgData name="Hans Gelissen (DHL SSC Maastricht)" userId="1afa8510-4eed-4b73-a29e-678838cd8acd" providerId="ADAL" clId="{A12E206A-4C27-49C9-9C65-03FB9E0A52A0}" dt="2023-04-28T09:55:51.321" v="251" actId="14100"/>
            <ac:spMkLst>
              <pc:docMk/>
              <pc:sldMasterMk cId="452284608" sldId="2147484031"/>
              <pc:sldLayoutMk cId="2987006883" sldId="2147484040"/>
              <ac:spMk id="4" creationId="{4A7C25AF-998D-B81E-FC24-65220BF2AA43}"/>
            </ac:spMkLst>
          </pc:sp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3" creationId="{E7F00E61-CB13-4FDB-92C8-09428B2A2912}"/>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19" creationId="{9EF346B0-A95C-48B9-A290-06C06790D29C}"/>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1" creationId="{E21D5D22-03F2-4603-9A4B-31ADD75146BA}"/>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2" creationId="{C0932137-CE10-40E7-AF72-2AF6441D557E}"/>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3" creationId="{D5D976C0-9010-495E-8687-22D2D2339066}"/>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4" creationId="{92AA7FEA-704B-4CEB-AFF9-62776B1ED952}"/>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5" creationId="{4459D435-0084-44F4-A9FF-36D7E11B4EA7}"/>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6" creationId="{58FB8BAA-BC4E-494C-B2D3-623655122E9E}"/>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7" creationId="{DB726947-6207-4EF7-A480-EAC4AB48CB94}"/>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8" creationId="{3850983E-0922-4848-8BBD-B4F450D15804}"/>
            </ac:cxnSpMkLst>
          </pc:cxnChg>
          <pc:cxnChg chg="del">
            <ac:chgData name="Hans Gelissen (DHL SSC Maastricht)" userId="1afa8510-4eed-4b73-a29e-678838cd8acd" providerId="ADAL" clId="{A12E206A-4C27-49C9-9C65-03FB9E0A52A0}" dt="2023-04-28T09:53:00.868" v="125" actId="478"/>
            <ac:cxnSpMkLst>
              <pc:docMk/>
              <pc:sldMasterMk cId="452284608" sldId="2147484031"/>
              <pc:sldLayoutMk cId="2987006883" sldId="2147484040"/>
              <ac:cxnSpMk id="29" creationId="{36A1BA1B-5D82-43C1-8101-C7F3DA63F151}"/>
            </ac:cxnSpMkLst>
          </pc:cxnChg>
          <pc:cxnChg chg="del">
            <ac:chgData name="Hans Gelissen (DHL SSC Maastricht)" userId="1afa8510-4eed-4b73-a29e-678838cd8acd" providerId="ADAL" clId="{A12E206A-4C27-49C9-9C65-03FB9E0A52A0}" dt="2023-04-28T09:53:03.623" v="126" actId="478"/>
            <ac:cxnSpMkLst>
              <pc:docMk/>
              <pc:sldMasterMk cId="452284608" sldId="2147484031"/>
              <pc:sldLayoutMk cId="2987006883" sldId="2147484040"/>
              <ac:cxnSpMk id="30" creationId="{950664C4-7DEA-48F9-A56C-77C8E17A5A35}"/>
            </ac:cxnSpMkLst>
          </pc:cxnChg>
        </pc:sldLayoutChg>
        <pc:sldLayoutChg chg="new del mod replId">
          <pc:chgData name="Hans Gelissen (DHL SSC Maastricht)" userId="1afa8510-4eed-4b73-a29e-678838cd8acd" providerId="ADAL" clId="{A12E206A-4C27-49C9-9C65-03FB9E0A52A0}" dt="2023-04-28T09:54:42.404" v="133" actId="11236"/>
          <pc:sldLayoutMkLst>
            <pc:docMk/>
            <pc:sldMasterMk cId="452284608" sldId="2147484031"/>
            <pc:sldLayoutMk cId="3636528309" sldId="2147484042"/>
          </pc:sldLayoutMkLst>
        </pc:sldLayoutChg>
      </pc:sldMasterChg>
      <pc:sldMasterChg chg="delSldLayout modSldLayout">
        <pc:chgData name="Hans Gelissen (DHL SSC Maastricht)" userId="1afa8510-4eed-4b73-a29e-678838cd8acd" providerId="ADAL" clId="{A12E206A-4C27-49C9-9C65-03FB9E0A52A0}" dt="2023-04-28T10:13:42.945" v="353" actId="2696"/>
        <pc:sldMasterMkLst>
          <pc:docMk/>
          <pc:sldMasterMk cId="323497015" sldId="2147484033"/>
        </pc:sldMasterMkLst>
        <pc:sldLayoutChg chg="modSp">
          <pc:chgData name="Hans Gelissen (DHL SSC Maastricht)" userId="1afa8510-4eed-4b73-a29e-678838cd8acd" providerId="ADAL" clId="{A12E206A-4C27-49C9-9C65-03FB9E0A52A0}" dt="2023-04-18T10:07:05.918" v="0" actId="404"/>
          <pc:sldLayoutMkLst>
            <pc:docMk/>
            <pc:sldMasterMk cId="323497015" sldId="2147484033"/>
            <pc:sldLayoutMk cId="3607588471" sldId="2147484034"/>
          </pc:sldLayoutMkLst>
          <pc:spChg chg="mod">
            <ac:chgData name="Hans Gelissen (DHL SSC Maastricht)" userId="1afa8510-4eed-4b73-a29e-678838cd8acd" providerId="ADAL" clId="{A12E206A-4C27-49C9-9C65-03FB9E0A52A0}" dt="2023-04-18T10:07:05.918" v="0" actId="404"/>
            <ac:spMkLst>
              <pc:docMk/>
              <pc:sldMasterMk cId="323497015" sldId="2147484033"/>
              <pc:sldLayoutMk cId="3607588471" sldId="2147484034"/>
              <ac:spMk id="6" creationId="{7378D8CD-C3E3-4637-8184-7FC938EE9CFF}"/>
            </ac:spMkLst>
          </pc:spChg>
          <pc:spChg chg="mod">
            <ac:chgData name="Hans Gelissen (DHL SSC Maastricht)" userId="1afa8510-4eed-4b73-a29e-678838cd8acd" providerId="ADAL" clId="{A12E206A-4C27-49C9-9C65-03FB9E0A52A0}" dt="2023-04-18T10:07:05.918" v="0" actId="404"/>
            <ac:spMkLst>
              <pc:docMk/>
              <pc:sldMasterMk cId="323497015" sldId="2147484033"/>
              <pc:sldLayoutMk cId="3607588471" sldId="2147484034"/>
              <ac:spMk id="33" creationId="{5B6B688A-4321-4967-ADCE-3DD62CCF28D1}"/>
            </ac:spMkLst>
          </pc:spChg>
          <pc:spChg chg="mod">
            <ac:chgData name="Hans Gelissen (DHL SSC Maastricht)" userId="1afa8510-4eed-4b73-a29e-678838cd8acd" providerId="ADAL" clId="{A12E206A-4C27-49C9-9C65-03FB9E0A52A0}" dt="2023-04-18T10:07:05.918" v="0" actId="404"/>
            <ac:spMkLst>
              <pc:docMk/>
              <pc:sldMasterMk cId="323497015" sldId="2147484033"/>
              <pc:sldLayoutMk cId="3607588471" sldId="2147484034"/>
              <ac:spMk id="34" creationId="{10A46619-F1F2-43A8-85D6-A1D7F402C17E}"/>
            </ac:spMkLst>
          </pc:spChg>
          <pc:spChg chg="mod">
            <ac:chgData name="Hans Gelissen (DHL SSC Maastricht)" userId="1afa8510-4eed-4b73-a29e-678838cd8acd" providerId="ADAL" clId="{A12E206A-4C27-49C9-9C65-03FB9E0A52A0}" dt="2023-04-18T10:07:05.918" v="0" actId="404"/>
            <ac:spMkLst>
              <pc:docMk/>
              <pc:sldMasterMk cId="323497015" sldId="2147484033"/>
              <pc:sldLayoutMk cId="3607588471" sldId="2147484034"/>
              <ac:spMk id="35" creationId="{A04A0385-DE7C-4017-A042-7DF11670E515}"/>
            </ac:spMkLst>
          </pc:spChg>
        </pc:sldLayoutChg>
        <pc:sldLayoutChg chg="modSp">
          <pc:chgData name="Hans Gelissen (DHL SSC Maastricht)" userId="1afa8510-4eed-4b73-a29e-678838cd8acd" providerId="ADAL" clId="{A12E206A-4C27-49C9-9C65-03FB9E0A52A0}" dt="2023-04-18T10:07:14.130" v="1" actId="404"/>
          <pc:sldLayoutMkLst>
            <pc:docMk/>
            <pc:sldMasterMk cId="323497015" sldId="2147484033"/>
            <pc:sldLayoutMk cId="1454208401" sldId="2147484035"/>
          </pc:sldLayoutMkLst>
          <pc:spChg chg="mod">
            <ac:chgData name="Hans Gelissen (DHL SSC Maastricht)" userId="1afa8510-4eed-4b73-a29e-678838cd8acd" providerId="ADAL" clId="{A12E206A-4C27-49C9-9C65-03FB9E0A52A0}" dt="2023-04-18T10:07:14.130" v="1" actId="404"/>
            <ac:spMkLst>
              <pc:docMk/>
              <pc:sldMasterMk cId="323497015" sldId="2147484033"/>
              <pc:sldLayoutMk cId="1454208401" sldId="2147484035"/>
              <ac:spMk id="16" creationId="{543B43F8-9408-4DE6-ADB1-0F55458A9A22}"/>
            </ac:spMkLst>
          </pc:spChg>
          <pc:spChg chg="mod">
            <ac:chgData name="Hans Gelissen (DHL SSC Maastricht)" userId="1afa8510-4eed-4b73-a29e-678838cd8acd" providerId="ADAL" clId="{A12E206A-4C27-49C9-9C65-03FB9E0A52A0}" dt="2023-04-18T10:07:14.130" v="1" actId="404"/>
            <ac:spMkLst>
              <pc:docMk/>
              <pc:sldMasterMk cId="323497015" sldId="2147484033"/>
              <pc:sldLayoutMk cId="1454208401" sldId="2147484035"/>
              <ac:spMk id="17" creationId="{94772D6F-1FC4-4476-A44A-08C36474BFAC}"/>
            </ac:spMkLst>
          </pc:spChg>
          <pc:spChg chg="mod">
            <ac:chgData name="Hans Gelissen (DHL SSC Maastricht)" userId="1afa8510-4eed-4b73-a29e-678838cd8acd" providerId="ADAL" clId="{A12E206A-4C27-49C9-9C65-03FB9E0A52A0}" dt="2023-04-18T10:07:14.130" v="1" actId="404"/>
            <ac:spMkLst>
              <pc:docMk/>
              <pc:sldMasterMk cId="323497015" sldId="2147484033"/>
              <pc:sldLayoutMk cId="1454208401" sldId="2147484035"/>
              <ac:spMk id="18" creationId="{512809E2-9DA5-447E-955E-34FB70D95FD4}"/>
            </ac:spMkLst>
          </pc:spChg>
          <pc:spChg chg="mod">
            <ac:chgData name="Hans Gelissen (DHL SSC Maastricht)" userId="1afa8510-4eed-4b73-a29e-678838cd8acd" providerId="ADAL" clId="{A12E206A-4C27-49C9-9C65-03FB9E0A52A0}" dt="2023-04-18T10:07:14.130" v="1" actId="404"/>
            <ac:spMkLst>
              <pc:docMk/>
              <pc:sldMasterMk cId="323497015" sldId="2147484033"/>
              <pc:sldLayoutMk cId="1454208401" sldId="2147484035"/>
              <ac:spMk id="19" creationId="{B7A3AD81-254E-4701-8E10-052F58E25B96}"/>
            </ac:spMkLst>
          </pc:spChg>
        </pc:sldLayoutChg>
        <pc:sldLayoutChg chg="addSp delSp modSp del mod">
          <pc:chgData name="Hans Gelissen (DHL SSC Maastricht)" userId="1afa8510-4eed-4b73-a29e-678838cd8acd" providerId="ADAL" clId="{A12E206A-4C27-49C9-9C65-03FB9E0A52A0}" dt="2023-04-28T10:13:42.945" v="353" actId="2696"/>
          <pc:sldLayoutMkLst>
            <pc:docMk/>
            <pc:sldMasterMk cId="323497015" sldId="2147484033"/>
            <pc:sldLayoutMk cId="496878522" sldId="2147484042"/>
          </pc:sldLayoutMkLst>
          <pc:spChg chg="add del">
            <ac:chgData name="Hans Gelissen (DHL SSC Maastricht)" userId="1afa8510-4eed-4b73-a29e-678838cd8acd" providerId="ADAL" clId="{A12E206A-4C27-49C9-9C65-03FB9E0A52A0}" dt="2023-04-28T09:59:20.621" v="320" actId="11529"/>
            <ac:spMkLst>
              <pc:docMk/>
              <pc:sldMasterMk cId="323497015" sldId="2147484033"/>
              <pc:sldLayoutMk cId="496878522" sldId="2147484042"/>
              <ac:spMk id="2" creationId="{2F4A1CCD-0421-6D3E-8091-6048D4D6BC04}"/>
            </ac:spMkLst>
          </pc:spChg>
          <pc:spChg chg="add del mod">
            <ac:chgData name="Hans Gelissen (DHL SSC Maastricht)" userId="1afa8510-4eed-4b73-a29e-678838cd8acd" providerId="ADAL" clId="{A12E206A-4C27-49C9-9C65-03FB9E0A52A0}" dt="2023-04-28T09:59:40.571" v="323" actId="478"/>
            <ac:spMkLst>
              <pc:docMk/>
              <pc:sldMasterMk cId="323497015" sldId="2147484033"/>
              <pc:sldLayoutMk cId="496878522" sldId="2147484042"/>
              <ac:spMk id="3" creationId="{4D3D6400-34B2-137D-0215-8031AEA10EE7}"/>
            </ac:spMkLst>
          </pc:spChg>
          <pc:spChg chg="add del mod">
            <ac:chgData name="Hans Gelissen (DHL SSC Maastricht)" userId="1afa8510-4eed-4b73-a29e-678838cd8acd" providerId="ADAL" clId="{A12E206A-4C27-49C9-9C65-03FB9E0A52A0}" dt="2023-04-28T10:00:22.882" v="328"/>
            <ac:spMkLst>
              <pc:docMk/>
              <pc:sldMasterMk cId="323497015" sldId="2147484033"/>
              <pc:sldLayoutMk cId="496878522" sldId="2147484042"/>
              <ac:spMk id="4" creationId="{3E62D935-A4B6-869C-8192-5F43F80E583B}"/>
            </ac:spMkLst>
          </pc:spChg>
          <pc:spChg chg="del">
            <ac:chgData name="Hans Gelissen (DHL SSC Maastricht)" userId="1afa8510-4eed-4b73-a29e-678838cd8acd" providerId="ADAL" clId="{A12E206A-4C27-49C9-9C65-03FB9E0A52A0}" dt="2023-04-28T10:07:15.678" v="345" actId="478"/>
            <ac:spMkLst>
              <pc:docMk/>
              <pc:sldMasterMk cId="323497015" sldId="2147484033"/>
              <pc:sldLayoutMk cId="496878522" sldId="2147484042"/>
              <ac:spMk id="5" creationId="{11CD8C8C-63CF-4943-89D3-B5BCA0F16C98}"/>
            </ac:spMkLst>
          </pc:spChg>
          <pc:spChg chg="del">
            <ac:chgData name="Hans Gelissen (DHL SSC Maastricht)" userId="1afa8510-4eed-4b73-a29e-678838cd8acd" providerId="ADAL" clId="{A12E206A-4C27-49C9-9C65-03FB9E0A52A0}" dt="2023-04-28T10:07:18.899" v="347" actId="478"/>
            <ac:spMkLst>
              <pc:docMk/>
              <pc:sldMasterMk cId="323497015" sldId="2147484033"/>
              <pc:sldLayoutMk cId="496878522" sldId="2147484042"/>
              <ac:spMk id="6" creationId="{77FBCCC6-2047-406D-B33D-317698474BB6}"/>
            </ac:spMkLst>
          </pc:spChg>
          <pc:spChg chg="del">
            <ac:chgData name="Hans Gelissen (DHL SSC Maastricht)" userId="1afa8510-4eed-4b73-a29e-678838cd8acd" providerId="ADAL" clId="{A12E206A-4C27-49C9-9C65-03FB9E0A52A0}" dt="2023-04-28T10:07:16.825" v="346" actId="478"/>
            <ac:spMkLst>
              <pc:docMk/>
              <pc:sldMasterMk cId="323497015" sldId="2147484033"/>
              <pc:sldLayoutMk cId="496878522" sldId="2147484042"/>
              <ac:spMk id="7" creationId="{12D982B6-0289-439C-A43F-7FF6B3744AD9}"/>
            </ac:spMkLst>
          </pc:spChg>
          <pc:spChg chg="del">
            <ac:chgData name="Hans Gelissen (DHL SSC Maastricht)" userId="1afa8510-4eed-4b73-a29e-678838cd8acd" providerId="ADAL" clId="{A12E206A-4C27-49C9-9C65-03FB9E0A52A0}" dt="2023-04-28T10:07:14.891" v="344" actId="478"/>
            <ac:spMkLst>
              <pc:docMk/>
              <pc:sldMasterMk cId="323497015" sldId="2147484033"/>
              <pc:sldLayoutMk cId="496878522" sldId="2147484042"/>
              <ac:spMk id="8" creationId="{FEB8FEBE-B61F-4667-AB15-3E01E9EFF369}"/>
            </ac:spMkLst>
          </pc:spChg>
          <pc:spChg chg="add del mod">
            <ac:chgData name="Hans Gelissen (DHL SSC Maastricht)" userId="1afa8510-4eed-4b73-a29e-678838cd8acd" providerId="ADAL" clId="{A12E206A-4C27-49C9-9C65-03FB9E0A52A0}" dt="2023-04-28T10:06:13.319" v="342" actId="478"/>
            <ac:spMkLst>
              <pc:docMk/>
              <pc:sldMasterMk cId="323497015" sldId="2147484033"/>
              <pc:sldLayoutMk cId="496878522" sldId="2147484042"/>
              <ac:spMk id="9" creationId="{754166A1-E8B3-33FF-D720-EE0C54DAA5EA}"/>
            </ac:spMkLst>
          </pc:spChg>
          <pc:spChg chg="mod">
            <ac:chgData name="Hans Gelissen (DHL SSC Maastricht)" userId="1afa8510-4eed-4b73-a29e-678838cd8acd" providerId="ADAL" clId="{A12E206A-4C27-49C9-9C65-03FB9E0A52A0}" dt="2023-04-28T10:00:24.127" v="329" actId="1076"/>
            <ac:spMkLst>
              <pc:docMk/>
              <pc:sldMasterMk cId="323497015" sldId="2147484033"/>
              <pc:sldLayoutMk cId="496878522" sldId="2147484042"/>
              <ac:spMk id="11" creationId="{C478DBB3-8CBA-44B0-8448-554392206DAD}"/>
            </ac:spMkLst>
          </pc:spChg>
          <pc:spChg chg="del">
            <ac:chgData name="Hans Gelissen (DHL SSC Maastricht)" userId="1afa8510-4eed-4b73-a29e-678838cd8acd" providerId="ADAL" clId="{A12E206A-4C27-49C9-9C65-03FB9E0A52A0}" dt="2023-04-28T09:58:22.886" v="316" actId="478"/>
            <ac:spMkLst>
              <pc:docMk/>
              <pc:sldMasterMk cId="323497015" sldId="2147484033"/>
              <pc:sldLayoutMk cId="496878522" sldId="2147484042"/>
              <ac:spMk id="16" creationId="{543B43F8-9408-4DE6-ADB1-0F55458A9A22}"/>
            </ac:spMkLst>
          </pc:spChg>
          <pc:spChg chg="del">
            <ac:chgData name="Hans Gelissen (DHL SSC Maastricht)" userId="1afa8510-4eed-4b73-a29e-678838cd8acd" providerId="ADAL" clId="{A12E206A-4C27-49C9-9C65-03FB9E0A52A0}" dt="2023-04-28T09:58:24.276" v="317" actId="478"/>
            <ac:spMkLst>
              <pc:docMk/>
              <pc:sldMasterMk cId="323497015" sldId="2147484033"/>
              <pc:sldLayoutMk cId="496878522" sldId="2147484042"/>
              <ac:spMk id="17" creationId="{94772D6F-1FC4-4476-A44A-08C36474BFAC}"/>
            </ac:spMkLst>
          </pc:spChg>
          <pc:spChg chg="del">
            <ac:chgData name="Hans Gelissen (DHL SSC Maastricht)" userId="1afa8510-4eed-4b73-a29e-678838cd8acd" providerId="ADAL" clId="{A12E206A-4C27-49C9-9C65-03FB9E0A52A0}" dt="2023-04-28T09:58:25.730" v="318" actId="478"/>
            <ac:spMkLst>
              <pc:docMk/>
              <pc:sldMasterMk cId="323497015" sldId="2147484033"/>
              <pc:sldLayoutMk cId="496878522" sldId="2147484042"/>
              <ac:spMk id="18" creationId="{512809E2-9DA5-447E-955E-34FB70D95FD4}"/>
            </ac:spMkLst>
          </pc:spChg>
          <pc:spChg chg="del">
            <ac:chgData name="Hans Gelissen (DHL SSC Maastricht)" userId="1afa8510-4eed-4b73-a29e-678838cd8acd" providerId="ADAL" clId="{A12E206A-4C27-49C9-9C65-03FB9E0A52A0}" dt="2023-04-28T09:58:27.165" v="319" actId="478"/>
            <ac:spMkLst>
              <pc:docMk/>
              <pc:sldMasterMk cId="323497015" sldId="2147484033"/>
              <pc:sldLayoutMk cId="496878522" sldId="2147484042"/>
              <ac:spMk id="19" creationId="{B7A3AD81-254E-4701-8E10-052F58E25B96}"/>
            </ac:spMkLst>
          </pc:spChg>
          <pc:spChg chg="del">
            <ac:chgData name="Hans Gelissen (DHL SSC Maastricht)" userId="1afa8510-4eed-4b73-a29e-678838cd8acd" providerId="ADAL" clId="{A12E206A-4C27-49C9-9C65-03FB9E0A52A0}" dt="2023-04-28T09:58:21.798" v="315" actId="478"/>
            <ac:spMkLst>
              <pc:docMk/>
              <pc:sldMasterMk cId="323497015" sldId="2147484033"/>
              <pc:sldLayoutMk cId="496878522" sldId="2147484042"/>
              <ac:spMk id="21" creationId="{90FA61AE-BB1F-440B-B9B9-EEF289294A6B}"/>
            </ac:spMkLst>
          </pc:spChg>
          <pc:spChg chg="mod">
            <ac:chgData name="Hans Gelissen (DHL SSC Maastricht)" userId="1afa8510-4eed-4b73-a29e-678838cd8acd" providerId="ADAL" clId="{A12E206A-4C27-49C9-9C65-03FB9E0A52A0}" dt="2023-04-28T09:57:55.318" v="314" actId="20577"/>
            <ac:spMkLst>
              <pc:docMk/>
              <pc:sldMasterMk cId="323497015" sldId="2147484033"/>
              <pc:sldLayoutMk cId="496878522" sldId="2147484042"/>
              <ac:spMk id="22" creationId="{F50D9795-89E4-442A-AB07-DB9973DB0C26}"/>
            </ac:spMkLst>
          </pc:spChg>
        </pc:sldLayoutChg>
      </pc:sldMasterChg>
      <pc:sldMasterChg chg="modSldLayout">
        <pc:chgData name="Hans Gelissen (DHL SSC Maastricht)" userId="1afa8510-4eed-4b73-a29e-678838cd8acd" providerId="ADAL" clId="{A12E206A-4C27-49C9-9C65-03FB9E0A52A0}" dt="2023-04-28T09:57:00.708" v="280" actId="14100"/>
        <pc:sldMasterMkLst>
          <pc:docMk/>
          <pc:sldMasterMk cId="346234790" sldId="2147484036"/>
        </pc:sldMasterMkLst>
        <pc:sldLayoutChg chg="addSp delSp modSp mod">
          <pc:chgData name="Hans Gelissen (DHL SSC Maastricht)" userId="1afa8510-4eed-4b73-a29e-678838cd8acd" providerId="ADAL" clId="{A12E206A-4C27-49C9-9C65-03FB9E0A52A0}" dt="2023-04-28T09:57:00.708" v="280" actId="14100"/>
          <pc:sldLayoutMkLst>
            <pc:docMk/>
            <pc:sldMasterMk cId="346234790" sldId="2147484036"/>
            <pc:sldLayoutMk cId="1475199376" sldId="2147484041"/>
          </pc:sldLayoutMkLst>
          <pc:spChg chg="add mod">
            <ac:chgData name="Hans Gelissen (DHL SSC Maastricht)" userId="1afa8510-4eed-4b73-a29e-678838cd8acd" providerId="ADAL" clId="{A12E206A-4C27-49C9-9C65-03FB9E0A52A0}" dt="2023-04-28T09:53:49.643" v="130" actId="571"/>
            <ac:spMkLst>
              <pc:docMk/>
              <pc:sldMasterMk cId="346234790" sldId="2147484036"/>
              <pc:sldLayoutMk cId="1475199376" sldId="2147484041"/>
              <ac:spMk id="2" creationId="{02DA285E-6493-E06B-FE50-21F73A9443EA}"/>
            </ac:spMkLst>
          </pc:spChg>
          <pc:spChg chg="add mod">
            <ac:chgData name="Hans Gelissen (DHL SSC Maastricht)" userId="1afa8510-4eed-4b73-a29e-678838cd8acd" providerId="ADAL" clId="{A12E206A-4C27-49C9-9C65-03FB9E0A52A0}" dt="2023-04-28T09:57:00.708" v="280" actId="14100"/>
            <ac:spMkLst>
              <pc:docMk/>
              <pc:sldMasterMk cId="346234790" sldId="2147484036"/>
              <pc:sldLayoutMk cId="1475199376" sldId="2147484041"/>
              <ac:spMk id="3" creationId="{2E2DA8AA-3985-4E68-4882-9C6A90508514}"/>
            </ac:spMkLst>
          </pc:spChg>
          <pc:spChg chg="add mod">
            <ac:chgData name="Hans Gelissen (DHL SSC Maastricht)" userId="1afa8510-4eed-4b73-a29e-678838cd8acd" providerId="ADAL" clId="{A12E206A-4C27-49C9-9C65-03FB9E0A52A0}" dt="2023-04-28T09:56:33.441" v="259" actId="14100"/>
            <ac:spMkLst>
              <pc:docMk/>
              <pc:sldMasterMk cId="346234790" sldId="2147484036"/>
              <pc:sldLayoutMk cId="1475199376" sldId="2147484041"/>
              <ac:spMk id="4" creationId="{C527A8E5-D36B-17AB-62D4-6397E78778F7}"/>
            </ac:spMkLst>
          </pc:spChg>
          <pc:spChg chg="add mod">
            <ac:chgData name="Hans Gelissen (DHL SSC Maastricht)" userId="1afa8510-4eed-4b73-a29e-678838cd8acd" providerId="ADAL" clId="{A12E206A-4C27-49C9-9C65-03FB9E0A52A0}" dt="2023-04-28T09:56:47.481" v="269" actId="14100"/>
            <ac:spMkLst>
              <pc:docMk/>
              <pc:sldMasterMk cId="346234790" sldId="2147484036"/>
              <pc:sldLayoutMk cId="1475199376" sldId="2147484041"/>
              <ac:spMk id="5" creationId="{4A18E320-A776-5EA0-E4AB-4EAE7EF7F5D6}"/>
            </ac:spMkLst>
          </pc:spChg>
          <pc:spChg chg="mod topLvl">
            <ac:chgData name="Hans Gelissen (DHL SSC Maastricht)" userId="1afa8510-4eed-4b73-a29e-678838cd8acd" providerId="ADAL" clId="{A12E206A-4C27-49C9-9C65-03FB9E0A52A0}" dt="2023-04-28T09:53:45.427" v="128" actId="165"/>
            <ac:spMkLst>
              <pc:docMk/>
              <pc:sldMasterMk cId="346234790" sldId="2147484036"/>
              <pc:sldLayoutMk cId="1475199376" sldId="2147484041"/>
              <ac:spMk id="32" creationId="{F42498E7-9A6A-4427-8E01-F3E38A5DD94C}"/>
            </ac:spMkLst>
          </pc:spChg>
          <pc:spChg chg="mod topLvl">
            <ac:chgData name="Hans Gelissen (DHL SSC Maastricht)" userId="1afa8510-4eed-4b73-a29e-678838cd8acd" providerId="ADAL" clId="{A12E206A-4C27-49C9-9C65-03FB9E0A52A0}" dt="2023-04-28T09:53:45.427" v="128" actId="165"/>
            <ac:spMkLst>
              <pc:docMk/>
              <pc:sldMasterMk cId="346234790" sldId="2147484036"/>
              <pc:sldLayoutMk cId="1475199376" sldId="2147484041"/>
              <ac:spMk id="72" creationId="{C8FB9A94-1E1C-437D-9EAE-EF02563B0EFD}"/>
            </ac:spMkLst>
          </pc:spChg>
          <pc:spChg chg="mod topLvl">
            <ac:chgData name="Hans Gelissen (DHL SSC Maastricht)" userId="1afa8510-4eed-4b73-a29e-678838cd8acd" providerId="ADAL" clId="{A12E206A-4C27-49C9-9C65-03FB9E0A52A0}" dt="2023-04-28T09:53:45.427" v="128" actId="165"/>
            <ac:spMkLst>
              <pc:docMk/>
              <pc:sldMasterMk cId="346234790" sldId="2147484036"/>
              <pc:sldLayoutMk cId="1475199376" sldId="2147484041"/>
              <ac:spMk id="75" creationId="{B77E976E-7E2D-437E-A7A8-F335D914D0D7}"/>
            </ac:spMkLst>
          </pc:spChg>
          <pc:spChg chg="mod topLvl">
            <ac:chgData name="Hans Gelissen (DHL SSC Maastricht)" userId="1afa8510-4eed-4b73-a29e-678838cd8acd" providerId="ADAL" clId="{A12E206A-4C27-49C9-9C65-03FB9E0A52A0}" dt="2023-04-28T09:53:45.427" v="128" actId="165"/>
            <ac:spMkLst>
              <pc:docMk/>
              <pc:sldMasterMk cId="346234790" sldId="2147484036"/>
              <pc:sldLayoutMk cId="1475199376" sldId="2147484041"/>
              <ac:spMk id="91" creationId="{4FD88F49-5DDD-48A5-A784-DD5B0EDE8C56}"/>
            </ac:spMkLst>
          </pc:spChg>
          <pc:spChg chg="mod topLvl">
            <ac:chgData name="Hans Gelissen (DHL SSC Maastricht)" userId="1afa8510-4eed-4b73-a29e-678838cd8acd" providerId="ADAL" clId="{A12E206A-4C27-49C9-9C65-03FB9E0A52A0}" dt="2023-04-28T09:53:45.427" v="128" actId="165"/>
            <ac:spMkLst>
              <pc:docMk/>
              <pc:sldMasterMk cId="346234790" sldId="2147484036"/>
              <pc:sldLayoutMk cId="1475199376" sldId="2147484041"/>
              <ac:spMk id="93" creationId="{AE62B214-39C7-4E08-B99C-79B7A172F05E}"/>
            </ac:spMkLst>
          </pc:spChg>
          <pc:spChg chg="mod topLvl">
            <ac:chgData name="Hans Gelissen (DHL SSC Maastricht)" userId="1afa8510-4eed-4b73-a29e-678838cd8acd" providerId="ADAL" clId="{A12E206A-4C27-49C9-9C65-03FB9E0A52A0}" dt="2023-04-28T09:53:45.427" v="128" actId="165"/>
            <ac:spMkLst>
              <pc:docMk/>
              <pc:sldMasterMk cId="346234790" sldId="2147484036"/>
              <pc:sldLayoutMk cId="1475199376" sldId="2147484041"/>
              <ac:spMk id="109" creationId="{2AF0CA33-BBE3-4B91-9FAE-B904C1FA83B8}"/>
            </ac:spMkLst>
          </pc:spChg>
          <pc:grpChg chg="del">
            <ac:chgData name="Hans Gelissen (DHL SSC Maastricht)" userId="1afa8510-4eed-4b73-a29e-678838cd8acd" providerId="ADAL" clId="{A12E206A-4C27-49C9-9C65-03FB9E0A52A0}" dt="2023-04-28T09:53:45.427" v="128" actId="165"/>
            <ac:grpSpMkLst>
              <pc:docMk/>
              <pc:sldMasterMk cId="346234790" sldId="2147484036"/>
              <pc:sldLayoutMk cId="1475199376" sldId="2147484041"/>
              <ac:grpSpMk id="73" creationId="{E4777B42-32A3-4712-8778-BC1FBB94A9A4}"/>
            </ac:grpSpMkLst>
          </pc:grpChg>
          <pc:grpChg chg="del">
            <ac:chgData name="Hans Gelissen (DHL SSC Maastricht)" userId="1afa8510-4eed-4b73-a29e-678838cd8acd" providerId="ADAL" clId="{A12E206A-4C27-49C9-9C65-03FB9E0A52A0}" dt="2023-04-28T09:53:45.427" v="128" actId="165"/>
            <ac:grpSpMkLst>
              <pc:docMk/>
              <pc:sldMasterMk cId="346234790" sldId="2147484036"/>
              <pc:sldLayoutMk cId="1475199376" sldId="2147484041"/>
              <ac:grpSpMk id="74" creationId="{A1E1A978-B4C1-419A-9F1C-98542ED88BA1}"/>
            </ac:grpSpMkLst>
          </pc:grpChg>
          <pc:grpChg chg="del">
            <ac:chgData name="Hans Gelissen (DHL SSC Maastricht)" userId="1afa8510-4eed-4b73-a29e-678838cd8acd" providerId="ADAL" clId="{A12E206A-4C27-49C9-9C65-03FB9E0A52A0}" dt="2023-04-28T09:53:45.427" v="128" actId="165"/>
            <ac:grpSpMkLst>
              <pc:docMk/>
              <pc:sldMasterMk cId="346234790" sldId="2147484036"/>
              <pc:sldLayoutMk cId="1475199376" sldId="2147484041"/>
              <ac:grpSpMk id="92" creationId="{8257BD7D-96C3-470C-8BBA-18F14DC4CDCE}"/>
            </ac:grpSpMkLst>
          </pc:grp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44" creationId="{3FD2213E-8523-42D2-8A46-34DF2FE69AEE}"/>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58" creationId="{4EA5F2B6-D2DA-477F-A7BB-C5F24C00ED62}"/>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59" creationId="{6E06BB17-9F17-4D34-9AE9-A57C30122A74}"/>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0" creationId="{CD38048B-4C19-4DEB-AB7A-507707188C0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1" creationId="{8E75C617-67A6-4165-BE30-B8277F4D8427}"/>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2" creationId="{A8B7A866-C123-425A-8015-130AB6D8003B}"/>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3" creationId="{3B223D01-9167-482A-AB67-82CA2B4EAA2D}"/>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4" creationId="{21123CBF-88DA-406B-8D3D-78251EE82CC3}"/>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5" creationId="{56879ED9-8608-4F51-B564-A6BCB01EE0A8}"/>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6" creationId="{100EBBB3-58C6-4497-95B8-94050387DEE3}"/>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7" creationId="{9FDA6CEE-66D2-4A78-8B72-EB96849FD216}"/>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8" creationId="{71B73F90-12F4-46FD-BA1E-CBA4A1AA02FE}"/>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69" creationId="{1D034444-C5D7-4C42-B856-DAA9DE48B9CC}"/>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70" creationId="{855C2D1C-12D0-48EA-AD95-8963A2AD9590}"/>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71" creationId="{E1199480-8A3D-4134-8205-81D8882D465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76" creationId="{C1069C92-64D5-4E19-95D4-61581EDF0B15}"/>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77" creationId="{C1E749D5-CEB3-4DE6-AB18-727DB76EBB2B}"/>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78" creationId="{189807CE-341D-40A4-80CC-E23E76568B3E}"/>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79" creationId="{3E075A6A-A3EB-4E48-BCA1-97D67D92B277}"/>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0" creationId="{C00C4848-7901-4792-82B5-62434A3421A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1" creationId="{DD8121E0-3EC1-46F4-8833-233B454079B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2" creationId="{7F16D176-B3CF-4C12-BE01-F7BEA3EAA513}"/>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3" creationId="{8D8D89E5-6ACE-4446-9D7B-F4ED0BDD88C4}"/>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4" creationId="{8F816A47-D34D-480F-ABD5-08B5B12719C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5" creationId="{C650C147-CA50-4E93-81CD-E1340DD5CEA9}"/>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6" creationId="{E15B4673-3480-41B7-9E17-D4E973A58E28}"/>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7" creationId="{83E357EE-12D2-4878-A574-F4E063B6E774}"/>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8" creationId="{DDFE2E28-7C73-4FBE-9215-6E8D64C56C62}"/>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89" creationId="{ABABEAED-EB10-4094-89AC-29EA7248FAD4}"/>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0" creationId="{89BD8221-452E-46B3-BDF3-3441019DBFF2}"/>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4" creationId="{19181C3A-4B1E-4F0C-9C89-FCEF56D5234F}"/>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5" creationId="{4394C08C-C088-41B0-967F-05736211CAA5}"/>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6" creationId="{64D1A2AA-2BA7-4C16-A821-2991DC92020B}"/>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7" creationId="{327E3DAA-5E4D-4F48-990E-4006CCF46321}"/>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8" creationId="{E40106E8-6FFB-48F2-901D-63AB56838A95}"/>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99" creationId="{07E58FEF-EB3C-4EE0-96CC-63663E26DCA2}"/>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0" creationId="{3D5D51AA-9A1D-4296-AD3E-02B435DD2D36}"/>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1" creationId="{228748E1-E4D7-42EB-9F92-FDD3B01516C7}"/>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2" creationId="{AF2D685A-7EA4-47F4-A90F-D8E013517E5B}"/>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3" creationId="{46D3BE50-E595-4D8F-B054-9B5651C6CF2E}"/>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4" creationId="{292DDDFE-432C-46EE-8E90-FC12B83D3DD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5" creationId="{E49B70D6-F247-46B4-B4AB-04C1E9C31D45}"/>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6" creationId="{E50169AD-E2DF-4EC9-A40F-9A6095CBC78A}"/>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7" creationId="{6D672CA9-2146-484E-8C91-4C0E672B53FD}"/>
            </ac:cxnSpMkLst>
          </pc:cxnChg>
          <pc:cxnChg chg="del mod topLvl">
            <ac:chgData name="Hans Gelissen (DHL SSC Maastricht)" userId="1afa8510-4eed-4b73-a29e-678838cd8acd" providerId="ADAL" clId="{A12E206A-4C27-49C9-9C65-03FB9E0A52A0}" dt="2023-04-28T09:53:56.606" v="131" actId="478"/>
            <ac:cxnSpMkLst>
              <pc:docMk/>
              <pc:sldMasterMk cId="346234790" sldId="2147484036"/>
              <pc:sldLayoutMk cId="1475199376" sldId="2147484041"/>
              <ac:cxnSpMk id="108" creationId="{0C0DEBBC-1796-4814-9F26-ABB5BD2827CC}"/>
            </ac:cxnSpMkLst>
          </pc:cxnChg>
        </pc:sldLayoutChg>
      </pc:sldMasterChg>
    </pc:docChg>
  </pc:docChgLst>
  <pc:docChgLst>
    <pc:chgData name="Bente De Rijke (DHL SSC Maastricht)" userId="S::bente.derijke@dhl.com::475646eb-b23c-43c0-b2ae-71e1fde9b74e" providerId="AD" clId="Web-{FCDE2736-2294-4FD4-86CB-5D0AA30A7966}"/>
    <pc:docChg chg="addSld delSld">
      <pc:chgData name="Bente De Rijke (DHL SSC Maastricht)" userId="S::bente.derijke@dhl.com::475646eb-b23c-43c0-b2ae-71e1fde9b74e" providerId="AD" clId="Web-{FCDE2736-2294-4FD4-86CB-5D0AA30A7966}" dt="2023-03-15T09:29:23.001" v="4"/>
      <pc:docMkLst>
        <pc:docMk/>
      </pc:docMkLst>
      <pc:sldChg chg="new del">
        <pc:chgData name="Bente De Rijke (DHL SSC Maastricht)" userId="S::bente.derijke@dhl.com::475646eb-b23c-43c0-b2ae-71e1fde9b74e" providerId="AD" clId="Web-{FCDE2736-2294-4FD4-86CB-5D0AA30A7966}" dt="2023-03-15T09:27:30.482" v="1"/>
        <pc:sldMkLst>
          <pc:docMk/>
          <pc:sldMk cId="1212672763" sldId="285"/>
        </pc:sldMkLst>
      </pc:sldChg>
      <pc:sldChg chg="new">
        <pc:chgData name="Bente De Rijke (DHL SSC Maastricht)" userId="S::bente.derijke@dhl.com::475646eb-b23c-43c0-b2ae-71e1fde9b74e" providerId="AD" clId="Web-{FCDE2736-2294-4FD4-86CB-5D0AA30A7966}" dt="2023-03-15T09:28:09.451" v="2"/>
        <pc:sldMkLst>
          <pc:docMk/>
          <pc:sldMk cId="3658597407" sldId="285"/>
        </pc:sldMkLst>
      </pc:sldChg>
      <pc:sldChg chg="new">
        <pc:chgData name="Bente De Rijke (DHL SSC Maastricht)" userId="S::bente.derijke@dhl.com::475646eb-b23c-43c0-b2ae-71e1fde9b74e" providerId="AD" clId="Web-{FCDE2736-2294-4FD4-86CB-5D0AA30A7966}" dt="2023-03-15T09:29:13.985" v="3"/>
        <pc:sldMkLst>
          <pc:docMk/>
          <pc:sldMk cId="1898574361" sldId="286"/>
        </pc:sldMkLst>
      </pc:sldChg>
      <pc:sldChg chg="new">
        <pc:chgData name="Bente De Rijke (DHL SSC Maastricht)" userId="S::bente.derijke@dhl.com::475646eb-b23c-43c0-b2ae-71e1fde9b74e" providerId="AD" clId="Web-{FCDE2736-2294-4FD4-86CB-5D0AA30A7966}" dt="2023-03-15T09:29:23.001" v="4"/>
        <pc:sldMkLst>
          <pc:docMk/>
          <pc:sldMk cId="2513434736" sldId="287"/>
        </pc:sldMkLst>
      </pc:sldChg>
    </pc:docChg>
  </pc:docChgLst>
  <pc:docChgLst>
    <pc:chgData name="Hans Gelissen (DHL SSC Maastricht)" userId="1afa8510-4eed-4b73-a29e-678838cd8acd" providerId="ADAL" clId="{3BE47AE8-95D9-40E2-AA3D-C68229D0CBC2}"/>
    <pc:docChg chg="undo custSel addSld delSld modSld sldOrd modMainMaster">
      <pc:chgData name="Hans Gelissen (DHL SSC Maastricht)" userId="1afa8510-4eed-4b73-a29e-678838cd8acd" providerId="ADAL" clId="{3BE47AE8-95D9-40E2-AA3D-C68229D0CBC2}" dt="2023-05-01T14:32:38.794" v="2699" actId="14100"/>
      <pc:docMkLst>
        <pc:docMk/>
      </pc:docMkLst>
      <pc:sldChg chg="addSp delSp modSp mod ord modClrScheme chgLayout">
        <pc:chgData name="Hans Gelissen (DHL SSC Maastricht)" userId="1afa8510-4eed-4b73-a29e-678838cd8acd" providerId="ADAL" clId="{3BE47AE8-95D9-40E2-AA3D-C68229D0CBC2}" dt="2023-05-01T12:50:56.578" v="32" actId="27636"/>
        <pc:sldMkLst>
          <pc:docMk/>
          <pc:sldMk cId="2338473233" sldId="258"/>
        </pc:sldMkLst>
        <pc:spChg chg="add mod ord">
          <ac:chgData name="Hans Gelissen (DHL SSC Maastricht)" userId="1afa8510-4eed-4b73-a29e-678838cd8acd" providerId="ADAL" clId="{3BE47AE8-95D9-40E2-AA3D-C68229D0CBC2}" dt="2023-05-01T12:50:41.659" v="25" actId="20577"/>
          <ac:spMkLst>
            <pc:docMk/>
            <pc:sldMk cId="2338473233" sldId="258"/>
            <ac:spMk id="2" creationId="{14DEEB54-5B76-4306-D25A-4C81DBFA028A}"/>
          </ac:spMkLst>
        </pc:spChg>
        <pc:spChg chg="add mod ord">
          <ac:chgData name="Hans Gelissen (DHL SSC Maastricht)" userId="1afa8510-4eed-4b73-a29e-678838cd8acd" providerId="ADAL" clId="{3BE47AE8-95D9-40E2-AA3D-C68229D0CBC2}" dt="2023-05-01T12:50:56.578" v="32" actId="27636"/>
          <ac:spMkLst>
            <pc:docMk/>
            <pc:sldMk cId="2338473233" sldId="258"/>
            <ac:spMk id="3" creationId="{C01AD43D-F824-08C8-5624-31D236224EAD}"/>
          </ac:spMkLst>
        </pc:spChg>
        <pc:spChg chg="del mod ord">
          <ac:chgData name="Hans Gelissen (DHL SSC Maastricht)" userId="1afa8510-4eed-4b73-a29e-678838cd8acd" providerId="ADAL" clId="{3BE47AE8-95D9-40E2-AA3D-C68229D0CBC2}" dt="2023-05-01T12:50:34.368" v="2" actId="700"/>
          <ac:spMkLst>
            <pc:docMk/>
            <pc:sldMk cId="2338473233" sldId="258"/>
            <ac:spMk id="13" creationId="{08A47195-4824-4907-8AE9-D7AD4BE08E28}"/>
          </ac:spMkLst>
        </pc:spChg>
        <pc:spChg chg="del mod ord">
          <ac:chgData name="Hans Gelissen (DHL SSC Maastricht)" userId="1afa8510-4eed-4b73-a29e-678838cd8acd" providerId="ADAL" clId="{3BE47AE8-95D9-40E2-AA3D-C68229D0CBC2}" dt="2023-05-01T12:50:34.368" v="2" actId="700"/>
          <ac:spMkLst>
            <pc:docMk/>
            <pc:sldMk cId="2338473233" sldId="258"/>
            <ac:spMk id="14" creationId="{887328E7-1ABA-4A97-BD13-05DA9C2D8B9D}"/>
          </ac:spMkLst>
        </pc:spChg>
      </pc:sldChg>
      <pc:sldChg chg="addSp delSp modSp mod modClrScheme chgLayout">
        <pc:chgData name="Hans Gelissen (DHL SSC Maastricht)" userId="1afa8510-4eed-4b73-a29e-678838cd8acd" providerId="ADAL" clId="{3BE47AE8-95D9-40E2-AA3D-C68229D0CBC2}" dt="2023-05-01T12:52:06.986" v="40" actId="478"/>
        <pc:sldMkLst>
          <pc:docMk/>
          <pc:sldMk cId="3658597407" sldId="285"/>
        </pc:sldMkLst>
        <pc:spChg chg="del">
          <ac:chgData name="Hans Gelissen (DHL SSC Maastricht)" userId="1afa8510-4eed-4b73-a29e-678838cd8acd" providerId="ADAL" clId="{3BE47AE8-95D9-40E2-AA3D-C68229D0CBC2}" dt="2023-05-01T12:51:52.894" v="37" actId="478"/>
          <ac:spMkLst>
            <pc:docMk/>
            <pc:sldMk cId="3658597407" sldId="285"/>
            <ac:spMk id="2" creationId="{3024157D-87CC-E94E-31BF-F3BC06964CEB}"/>
          </ac:spMkLst>
        </pc:spChg>
        <pc:spChg chg="del">
          <ac:chgData name="Hans Gelissen (DHL SSC Maastricht)" userId="1afa8510-4eed-4b73-a29e-678838cd8acd" providerId="ADAL" clId="{3BE47AE8-95D9-40E2-AA3D-C68229D0CBC2}" dt="2023-05-01T12:51:52.894" v="37" actId="478"/>
          <ac:spMkLst>
            <pc:docMk/>
            <pc:sldMk cId="3658597407" sldId="285"/>
            <ac:spMk id="3" creationId="{96B186BE-D1E1-55FC-FCA8-CEE0B885064A}"/>
          </ac:spMkLst>
        </pc:spChg>
        <pc:spChg chg="del">
          <ac:chgData name="Hans Gelissen (DHL SSC Maastricht)" userId="1afa8510-4eed-4b73-a29e-678838cd8acd" providerId="ADAL" clId="{3BE47AE8-95D9-40E2-AA3D-C68229D0CBC2}" dt="2023-05-01T12:51:52.894" v="37" actId="478"/>
          <ac:spMkLst>
            <pc:docMk/>
            <pc:sldMk cId="3658597407" sldId="285"/>
            <ac:spMk id="4" creationId="{68242135-7011-E68F-AB10-2F095C4F4EC6}"/>
          </ac:spMkLst>
        </pc:spChg>
        <pc:spChg chg="del">
          <ac:chgData name="Hans Gelissen (DHL SSC Maastricht)" userId="1afa8510-4eed-4b73-a29e-678838cd8acd" providerId="ADAL" clId="{3BE47AE8-95D9-40E2-AA3D-C68229D0CBC2}" dt="2023-05-01T12:51:52.894" v="37" actId="478"/>
          <ac:spMkLst>
            <pc:docMk/>
            <pc:sldMk cId="3658597407" sldId="285"/>
            <ac:spMk id="5" creationId="{B7A57654-52B2-744D-D1EA-C248729A4A18}"/>
          </ac:spMkLst>
        </pc:spChg>
        <pc:spChg chg="add mod ord">
          <ac:chgData name="Hans Gelissen (DHL SSC Maastricht)" userId="1afa8510-4eed-4b73-a29e-678838cd8acd" providerId="ADAL" clId="{3BE47AE8-95D9-40E2-AA3D-C68229D0CBC2}" dt="2023-05-01T12:52:03.807" v="39" actId="700"/>
          <ac:spMkLst>
            <pc:docMk/>
            <pc:sldMk cId="3658597407" sldId="285"/>
            <ac:spMk id="6" creationId="{F34E63A5-28A9-C358-E985-A9EFA5693590}"/>
          </ac:spMkLst>
        </pc:spChg>
        <pc:spChg chg="add mod ord">
          <ac:chgData name="Hans Gelissen (DHL SSC Maastricht)" userId="1afa8510-4eed-4b73-a29e-678838cd8acd" providerId="ADAL" clId="{3BE47AE8-95D9-40E2-AA3D-C68229D0CBC2}" dt="2023-05-01T12:52:03.807" v="39" actId="700"/>
          <ac:spMkLst>
            <pc:docMk/>
            <pc:sldMk cId="3658597407" sldId="285"/>
            <ac:spMk id="7" creationId="{1B9FA386-4E30-6F2E-4CB9-665C266C93CA}"/>
          </ac:spMkLst>
        </pc:spChg>
        <pc:spChg chg="add mod ord">
          <ac:chgData name="Hans Gelissen (DHL SSC Maastricht)" userId="1afa8510-4eed-4b73-a29e-678838cd8acd" providerId="ADAL" clId="{3BE47AE8-95D9-40E2-AA3D-C68229D0CBC2}" dt="2023-05-01T12:52:03.807" v="39" actId="700"/>
          <ac:spMkLst>
            <pc:docMk/>
            <pc:sldMk cId="3658597407" sldId="285"/>
            <ac:spMk id="8" creationId="{BAE2AE44-BCF0-702F-EFCC-B7D3204A0C54}"/>
          </ac:spMkLst>
        </pc:spChg>
        <pc:spChg chg="add del mod ord">
          <ac:chgData name="Hans Gelissen (DHL SSC Maastricht)" userId="1afa8510-4eed-4b73-a29e-678838cd8acd" providerId="ADAL" clId="{3BE47AE8-95D9-40E2-AA3D-C68229D0CBC2}" dt="2023-05-01T12:52:06.986" v="40" actId="478"/>
          <ac:spMkLst>
            <pc:docMk/>
            <pc:sldMk cId="3658597407" sldId="285"/>
            <ac:spMk id="9" creationId="{ADE5626A-1682-98D1-37E2-CF9C108BAAD7}"/>
          </ac:spMkLst>
        </pc:spChg>
      </pc:sldChg>
      <pc:sldChg chg="del">
        <pc:chgData name="Hans Gelissen (DHL SSC Maastricht)" userId="1afa8510-4eed-4b73-a29e-678838cd8acd" providerId="ADAL" clId="{3BE47AE8-95D9-40E2-AA3D-C68229D0CBC2}" dt="2023-05-01T12:55:08.973" v="81" actId="47"/>
        <pc:sldMkLst>
          <pc:docMk/>
          <pc:sldMk cId="1898574361" sldId="286"/>
        </pc:sldMkLst>
      </pc:sldChg>
      <pc:sldChg chg="del">
        <pc:chgData name="Hans Gelissen (DHL SSC Maastricht)" userId="1afa8510-4eed-4b73-a29e-678838cd8acd" providerId="ADAL" clId="{3BE47AE8-95D9-40E2-AA3D-C68229D0CBC2}" dt="2023-05-01T12:55:09.807" v="82" actId="47"/>
        <pc:sldMkLst>
          <pc:docMk/>
          <pc:sldMk cId="2513434736" sldId="287"/>
        </pc:sldMkLst>
      </pc:sldChg>
      <pc:sldChg chg="addSp delSp modSp new del mod modClrScheme chgLayout">
        <pc:chgData name="Hans Gelissen (DHL SSC Maastricht)" userId="1afa8510-4eed-4b73-a29e-678838cd8acd" providerId="ADAL" clId="{3BE47AE8-95D9-40E2-AA3D-C68229D0CBC2}" dt="2023-05-01T13:01:27.523" v="168" actId="47"/>
        <pc:sldMkLst>
          <pc:docMk/>
          <pc:sldMk cId="1366800856" sldId="288"/>
        </pc:sldMkLst>
        <pc:spChg chg="del mod ord">
          <ac:chgData name="Hans Gelissen (DHL SSC Maastricht)" userId="1afa8510-4eed-4b73-a29e-678838cd8acd" providerId="ADAL" clId="{3BE47AE8-95D9-40E2-AA3D-C68229D0CBC2}" dt="2023-05-01T12:53:21.790" v="41" actId="700"/>
          <ac:spMkLst>
            <pc:docMk/>
            <pc:sldMk cId="1366800856" sldId="288"/>
            <ac:spMk id="2" creationId="{4F270246-E744-77AA-C2E4-31BF5DD24F4E}"/>
          </ac:spMkLst>
        </pc:spChg>
        <pc:spChg chg="del">
          <ac:chgData name="Hans Gelissen (DHL SSC Maastricht)" userId="1afa8510-4eed-4b73-a29e-678838cd8acd" providerId="ADAL" clId="{3BE47AE8-95D9-40E2-AA3D-C68229D0CBC2}" dt="2023-05-01T12:53:21.790" v="41" actId="700"/>
          <ac:spMkLst>
            <pc:docMk/>
            <pc:sldMk cId="1366800856" sldId="288"/>
            <ac:spMk id="3" creationId="{3D3EB578-CE4A-393F-5D11-A9267766A8C5}"/>
          </ac:spMkLst>
        </pc:spChg>
        <pc:spChg chg="add mod ord">
          <ac:chgData name="Hans Gelissen (DHL SSC Maastricht)" userId="1afa8510-4eed-4b73-a29e-678838cd8acd" providerId="ADAL" clId="{3BE47AE8-95D9-40E2-AA3D-C68229D0CBC2}" dt="2023-05-01T12:53:30.343" v="76" actId="20577"/>
          <ac:spMkLst>
            <pc:docMk/>
            <pc:sldMk cId="1366800856" sldId="288"/>
            <ac:spMk id="4" creationId="{A0DDC4F1-0EF7-F567-D95B-E1D7AB870E39}"/>
          </ac:spMkLst>
        </pc:spChg>
      </pc:sldChg>
      <pc:sldChg chg="addSp delSp modSp add mod modClrScheme chgLayout">
        <pc:chgData name="Hans Gelissen (DHL SSC Maastricht)" userId="1afa8510-4eed-4b73-a29e-678838cd8acd" providerId="ADAL" clId="{3BE47AE8-95D9-40E2-AA3D-C68229D0CBC2}" dt="2023-05-01T12:56:24.966" v="124"/>
        <pc:sldMkLst>
          <pc:docMk/>
          <pc:sldMk cId="3750578925" sldId="289"/>
        </pc:sldMkLst>
        <pc:spChg chg="del mod ord">
          <ac:chgData name="Hans Gelissen (DHL SSC Maastricht)" userId="1afa8510-4eed-4b73-a29e-678838cd8acd" providerId="ADAL" clId="{3BE47AE8-95D9-40E2-AA3D-C68229D0CBC2}" dt="2023-05-01T12:56:01.560" v="83" actId="700"/>
          <ac:spMkLst>
            <pc:docMk/>
            <pc:sldMk cId="3750578925" sldId="289"/>
            <ac:spMk id="2" creationId="{4F270246-E744-77AA-C2E4-31BF5DD24F4E}"/>
          </ac:spMkLst>
        </pc:spChg>
        <pc:spChg chg="del mod ord">
          <ac:chgData name="Hans Gelissen (DHL SSC Maastricht)" userId="1afa8510-4eed-4b73-a29e-678838cd8acd" providerId="ADAL" clId="{3BE47AE8-95D9-40E2-AA3D-C68229D0CBC2}" dt="2023-05-01T12:56:01.560" v="83" actId="700"/>
          <ac:spMkLst>
            <pc:docMk/>
            <pc:sldMk cId="3750578925" sldId="289"/>
            <ac:spMk id="3" creationId="{3D3EB578-CE4A-393F-5D11-A9267766A8C5}"/>
          </ac:spMkLst>
        </pc:spChg>
        <pc:spChg chg="add mod ord">
          <ac:chgData name="Hans Gelissen (DHL SSC Maastricht)" userId="1afa8510-4eed-4b73-a29e-678838cd8acd" providerId="ADAL" clId="{3BE47AE8-95D9-40E2-AA3D-C68229D0CBC2}" dt="2023-05-01T12:56:15.210" v="123" actId="27636"/>
          <ac:spMkLst>
            <pc:docMk/>
            <pc:sldMk cId="3750578925" sldId="289"/>
            <ac:spMk id="4" creationId="{1C6AC6A7-80B3-3C67-045A-A5977E347E33}"/>
          </ac:spMkLst>
        </pc:spChg>
        <pc:spChg chg="add del mod ord">
          <ac:chgData name="Hans Gelissen (DHL SSC Maastricht)" userId="1afa8510-4eed-4b73-a29e-678838cd8acd" providerId="ADAL" clId="{3BE47AE8-95D9-40E2-AA3D-C68229D0CBC2}" dt="2023-05-01T12:56:04.639" v="84" actId="478"/>
          <ac:spMkLst>
            <pc:docMk/>
            <pc:sldMk cId="3750578925" sldId="289"/>
            <ac:spMk id="5" creationId="{39A747AA-49E4-073C-5F6F-1E7062B856AF}"/>
          </ac:spMkLst>
        </pc:spChg>
        <pc:spChg chg="add mod">
          <ac:chgData name="Hans Gelissen (DHL SSC Maastricht)" userId="1afa8510-4eed-4b73-a29e-678838cd8acd" providerId="ADAL" clId="{3BE47AE8-95D9-40E2-AA3D-C68229D0CBC2}" dt="2023-05-01T12:56:24.966" v="124"/>
          <ac:spMkLst>
            <pc:docMk/>
            <pc:sldMk cId="3750578925" sldId="289"/>
            <ac:spMk id="37" creationId="{3085C082-FEB3-2857-6281-33584B3ED8AD}"/>
          </ac:spMkLst>
        </pc:spChg>
        <pc:spChg chg="add mod">
          <ac:chgData name="Hans Gelissen (DHL SSC Maastricht)" userId="1afa8510-4eed-4b73-a29e-678838cd8acd" providerId="ADAL" clId="{3BE47AE8-95D9-40E2-AA3D-C68229D0CBC2}" dt="2023-05-01T12:56:24.966" v="124"/>
          <ac:spMkLst>
            <pc:docMk/>
            <pc:sldMk cId="3750578925" sldId="289"/>
            <ac:spMk id="38" creationId="{0BDACA0D-3D88-C605-C2F5-7CF8BA7BA79B}"/>
          </ac:spMkLst>
        </pc:spChg>
        <pc:spChg chg="add mod">
          <ac:chgData name="Hans Gelissen (DHL SSC Maastricht)" userId="1afa8510-4eed-4b73-a29e-678838cd8acd" providerId="ADAL" clId="{3BE47AE8-95D9-40E2-AA3D-C68229D0CBC2}" dt="2023-05-01T12:56:24.966" v="124"/>
          <ac:spMkLst>
            <pc:docMk/>
            <pc:sldMk cId="3750578925" sldId="289"/>
            <ac:spMk id="39" creationId="{B58FDF71-AA0A-EFB6-5A87-9C309039056E}"/>
          </ac:spMkLst>
        </pc:spChg>
        <pc:spChg chg="add mod">
          <ac:chgData name="Hans Gelissen (DHL SSC Maastricht)" userId="1afa8510-4eed-4b73-a29e-678838cd8acd" providerId="ADAL" clId="{3BE47AE8-95D9-40E2-AA3D-C68229D0CBC2}" dt="2023-05-01T12:56:24.966" v="124"/>
          <ac:spMkLst>
            <pc:docMk/>
            <pc:sldMk cId="3750578925" sldId="289"/>
            <ac:spMk id="40" creationId="{F908E426-2C45-BBDD-0E3A-1B6844C986C7}"/>
          </ac:spMkLst>
        </pc:spChg>
        <pc:spChg chg="add mod">
          <ac:chgData name="Hans Gelissen (DHL SSC Maastricht)" userId="1afa8510-4eed-4b73-a29e-678838cd8acd" providerId="ADAL" clId="{3BE47AE8-95D9-40E2-AA3D-C68229D0CBC2}" dt="2023-05-01T12:56:24.966" v="124"/>
          <ac:spMkLst>
            <pc:docMk/>
            <pc:sldMk cId="3750578925" sldId="289"/>
            <ac:spMk id="41" creationId="{360280F1-4C1E-2244-3B49-7AAAD2535280}"/>
          </ac:spMkLst>
        </pc:spChg>
        <pc:spChg chg="add mod">
          <ac:chgData name="Hans Gelissen (DHL SSC Maastricht)" userId="1afa8510-4eed-4b73-a29e-678838cd8acd" providerId="ADAL" clId="{3BE47AE8-95D9-40E2-AA3D-C68229D0CBC2}" dt="2023-05-01T12:56:24.966" v="124"/>
          <ac:spMkLst>
            <pc:docMk/>
            <pc:sldMk cId="3750578925" sldId="289"/>
            <ac:spMk id="42" creationId="{B1B69FB1-A245-C692-0B87-5F5AD4EBA636}"/>
          </ac:spMkLst>
        </pc:spChg>
        <pc:spChg chg="add mod">
          <ac:chgData name="Hans Gelissen (DHL SSC Maastricht)" userId="1afa8510-4eed-4b73-a29e-678838cd8acd" providerId="ADAL" clId="{3BE47AE8-95D9-40E2-AA3D-C68229D0CBC2}" dt="2023-05-01T12:56:24.966" v="124"/>
          <ac:spMkLst>
            <pc:docMk/>
            <pc:sldMk cId="3750578925" sldId="289"/>
            <ac:spMk id="43" creationId="{40F09528-1F9A-BC66-226D-8F627362DA89}"/>
          </ac:spMkLst>
        </pc:spChg>
        <pc:spChg chg="add mod">
          <ac:chgData name="Hans Gelissen (DHL SSC Maastricht)" userId="1afa8510-4eed-4b73-a29e-678838cd8acd" providerId="ADAL" clId="{3BE47AE8-95D9-40E2-AA3D-C68229D0CBC2}" dt="2023-05-01T12:56:24.966" v="124"/>
          <ac:spMkLst>
            <pc:docMk/>
            <pc:sldMk cId="3750578925" sldId="289"/>
            <ac:spMk id="44" creationId="{FF81A357-292A-099F-1735-076771813488}"/>
          </ac:spMkLst>
        </pc:spChg>
        <pc:spChg chg="add mod">
          <ac:chgData name="Hans Gelissen (DHL SSC Maastricht)" userId="1afa8510-4eed-4b73-a29e-678838cd8acd" providerId="ADAL" clId="{3BE47AE8-95D9-40E2-AA3D-C68229D0CBC2}" dt="2023-05-01T12:56:24.966" v="124"/>
          <ac:spMkLst>
            <pc:docMk/>
            <pc:sldMk cId="3750578925" sldId="289"/>
            <ac:spMk id="45" creationId="{FF6308FE-F682-5403-E365-D10C37089B5C}"/>
          </ac:spMkLst>
        </pc:spChg>
        <pc:spChg chg="add mod">
          <ac:chgData name="Hans Gelissen (DHL SSC Maastricht)" userId="1afa8510-4eed-4b73-a29e-678838cd8acd" providerId="ADAL" clId="{3BE47AE8-95D9-40E2-AA3D-C68229D0CBC2}" dt="2023-05-01T12:56:24.966" v="124"/>
          <ac:spMkLst>
            <pc:docMk/>
            <pc:sldMk cId="3750578925" sldId="289"/>
            <ac:spMk id="46" creationId="{0E84A1A7-7A42-B737-69B8-4C2E5164E485}"/>
          </ac:spMkLst>
        </pc:spChg>
        <pc:picChg chg="add mod">
          <ac:chgData name="Hans Gelissen (DHL SSC Maastricht)" userId="1afa8510-4eed-4b73-a29e-678838cd8acd" providerId="ADAL" clId="{3BE47AE8-95D9-40E2-AA3D-C68229D0CBC2}" dt="2023-05-01T12:56:24.966" v="124"/>
          <ac:picMkLst>
            <pc:docMk/>
            <pc:sldMk cId="3750578925" sldId="289"/>
            <ac:picMk id="36" creationId="{9ABF3151-A46B-F531-574D-99F4073ECD4F}"/>
          </ac:picMkLst>
        </pc:picChg>
        <pc:cxnChg chg="add mod">
          <ac:chgData name="Hans Gelissen (DHL SSC Maastricht)" userId="1afa8510-4eed-4b73-a29e-678838cd8acd" providerId="ADAL" clId="{3BE47AE8-95D9-40E2-AA3D-C68229D0CBC2}" dt="2023-05-01T12:56:24.966" v="124"/>
          <ac:cxnSpMkLst>
            <pc:docMk/>
            <pc:sldMk cId="3750578925" sldId="289"/>
            <ac:cxnSpMk id="6" creationId="{2D0EDE5D-7312-EE79-D48C-41D633C72407}"/>
          </ac:cxnSpMkLst>
        </pc:cxnChg>
        <pc:cxnChg chg="add mod">
          <ac:chgData name="Hans Gelissen (DHL SSC Maastricht)" userId="1afa8510-4eed-4b73-a29e-678838cd8acd" providerId="ADAL" clId="{3BE47AE8-95D9-40E2-AA3D-C68229D0CBC2}" dt="2023-05-01T12:56:24.966" v="124"/>
          <ac:cxnSpMkLst>
            <pc:docMk/>
            <pc:sldMk cId="3750578925" sldId="289"/>
            <ac:cxnSpMk id="7" creationId="{45A9298D-1BA4-00F6-6470-5C60A2AB2F62}"/>
          </ac:cxnSpMkLst>
        </pc:cxnChg>
        <pc:cxnChg chg="add mod">
          <ac:chgData name="Hans Gelissen (DHL SSC Maastricht)" userId="1afa8510-4eed-4b73-a29e-678838cd8acd" providerId="ADAL" clId="{3BE47AE8-95D9-40E2-AA3D-C68229D0CBC2}" dt="2023-05-01T12:56:24.966" v="124"/>
          <ac:cxnSpMkLst>
            <pc:docMk/>
            <pc:sldMk cId="3750578925" sldId="289"/>
            <ac:cxnSpMk id="8" creationId="{8B6C5439-D5CE-62CF-D9A3-13AECDDD1673}"/>
          </ac:cxnSpMkLst>
        </pc:cxnChg>
        <pc:cxnChg chg="add mod">
          <ac:chgData name="Hans Gelissen (DHL SSC Maastricht)" userId="1afa8510-4eed-4b73-a29e-678838cd8acd" providerId="ADAL" clId="{3BE47AE8-95D9-40E2-AA3D-C68229D0CBC2}" dt="2023-05-01T12:56:24.966" v="124"/>
          <ac:cxnSpMkLst>
            <pc:docMk/>
            <pc:sldMk cId="3750578925" sldId="289"/>
            <ac:cxnSpMk id="9" creationId="{2F568458-3B9D-DECC-33FF-8035E1E9CB60}"/>
          </ac:cxnSpMkLst>
        </pc:cxnChg>
        <pc:cxnChg chg="add mod">
          <ac:chgData name="Hans Gelissen (DHL SSC Maastricht)" userId="1afa8510-4eed-4b73-a29e-678838cd8acd" providerId="ADAL" clId="{3BE47AE8-95D9-40E2-AA3D-C68229D0CBC2}" dt="2023-05-01T12:56:24.966" v="124"/>
          <ac:cxnSpMkLst>
            <pc:docMk/>
            <pc:sldMk cId="3750578925" sldId="289"/>
            <ac:cxnSpMk id="10" creationId="{E9C376E5-B569-57BD-8B23-BB0B03F7644F}"/>
          </ac:cxnSpMkLst>
        </pc:cxnChg>
        <pc:cxnChg chg="add mod">
          <ac:chgData name="Hans Gelissen (DHL SSC Maastricht)" userId="1afa8510-4eed-4b73-a29e-678838cd8acd" providerId="ADAL" clId="{3BE47AE8-95D9-40E2-AA3D-C68229D0CBC2}" dt="2023-05-01T12:56:24.966" v="124"/>
          <ac:cxnSpMkLst>
            <pc:docMk/>
            <pc:sldMk cId="3750578925" sldId="289"/>
            <ac:cxnSpMk id="11" creationId="{86B5F2B8-A5BF-22A7-0EEF-E0A72B33498B}"/>
          </ac:cxnSpMkLst>
        </pc:cxnChg>
        <pc:cxnChg chg="add mod">
          <ac:chgData name="Hans Gelissen (DHL SSC Maastricht)" userId="1afa8510-4eed-4b73-a29e-678838cd8acd" providerId="ADAL" clId="{3BE47AE8-95D9-40E2-AA3D-C68229D0CBC2}" dt="2023-05-01T12:56:24.966" v="124"/>
          <ac:cxnSpMkLst>
            <pc:docMk/>
            <pc:sldMk cId="3750578925" sldId="289"/>
            <ac:cxnSpMk id="12" creationId="{108A725D-3BC0-937D-56E5-1226DCD638F8}"/>
          </ac:cxnSpMkLst>
        </pc:cxnChg>
        <pc:cxnChg chg="add mod">
          <ac:chgData name="Hans Gelissen (DHL SSC Maastricht)" userId="1afa8510-4eed-4b73-a29e-678838cd8acd" providerId="ADAL" clId="{3BE47AE8-95D9-40E2-AA3D-C68229D0CBC2}" dt="2023-05-01T12:56:24.966" v="124"/>
          <ac:cxnSpMkLst>
            <pc:docMk/>
            <pc:sldMk cId="3750578925" sldId="289"/>
            <ac:cxnSpMk id="13" creationId="{69662C11-4BD0-66C1-3F1E-4A765C7CECC8}"/>
          </ac:cxnSpMkLst>
        </pc:cxnChg>
        <pc:cxnChg chg="add mod">
          <ac:chgData name="Hans Gelissen (DHL SSC Maastricht)" userId="1afa8510-4eed-4b73-a29e-678838cd8acd" providerId="ADAL" clId="{3BE47AE8-95D9-40E2-AA3D-C68229D0CBC2}" dt="2023-05-01T12:56:24.966" v="124"/>
          <ac:cxnSpMkLst>
            <pc:docMk/>
            <pc:sldMk cId="3750578925" sldId="289"/>
            <ac:cxnSpMk id="14" creationId="{B981D3AC-8EE2-6C96-9A52-42687BBF0835}"/>
          </ac:cxnSpMkLst>
        </pc:cxnChg>
        <pc:cxnChg chg="add mod">
          <ac:chgData name="Hans Gelissen (DHL SSC Maastricht)" userId="1afa8510-4eed-4b73-a29e-678838cd8acd" providerId="ADAL" clId="{3BE47AE8-95D9-40E2-AA3D-C68229D0CBC2}" dt="2023-05-01T12:56:24.966" v="124"/>
          <ac:cxnSpMkLst>
            <pc:docMk/>
            <pc:sldMk cId="3750578925" sldId="289"/>
            <ac:cxnSpMk id="15" creationId="{DE4D3AB3-F56A-E82E-E969-AC98AA5955DF}"/>
          </ac:cxnSpMkLst>
        </pc:cxnChg>
        <pc:cxnChg chg="add mod">
          <ac:chgData name="Hans Gelissen (DHL SSC Maastricht)" userId="1afa8510-4eed-4b73-a29e-678838cd8acd" providerId="ADAL" clId="{3BE47AE8-95D9-40E2-AA3D-C68229D0CBC2}" dt="2023-05-01T12:56:24.966" v="124"/>
          <ac:cxnSpMkLst>
            <pc:docMk/>
            <pc:sldMk cId="3750578925" sldId="289"/>
            <ac:cxnSpMk id="16" creationId="{B1EB6351-2C2E-3381-A359-C51927DA568C}"/>
          </ac:cxnSpMkLst>
        </pc:cxnChg>
        <pc:cxnChg chg="add mod">
          <ac:chgData name="Hans Gelissen (DHL SSC Maastricht)" userId="1afa8510-4eed-4b73-a29e-678838cd8acd" providerId="ADAL" clId="{3BE47AE8-95D9-40E2-AA3D-C68229D0CBC2}" dt="2023-05-01T12:56:24.966" v="124"/>
          <ac:cxnSpMkLst>
            <pc:docMk/>
            <pc:sldMk cId="3750578925" sldId="289"/>
            <ac:cxnSpMk id="17" creationId="{6349DF70-4E89-CB71-2724-DA82CC467193}"/>
          </ac:cxnSpMkLst>
        </pc:cxnChg>
        <pc:cxnChg chg="add mod">
          <ac:chgData name="Hans Gelissen (DHL SSC Maastricht)" userId="1afa8510-4eed-4b73-a29e-678838cd8acd" providerId="ADAL" clId="{3BE47AE8-95D9-40E2-AA3D-C68229D0CBC2}" dt="2023-05-01T12:56:24.966" v="124"/>
          <ac:cxnSpMkLst>
            <pc:docMk/>
            <pc:sldMk cId="3750578925" sldId="289"/>
            <ac:cxnSpMk id="18" creationId="{ECCB3AEC-B788-72EF-FE94-3195F8211B0E}"/>
          </ac:cxnSpMkLst>
        </pc:cxnChg>
        <pc:cxnChg chg="add mod">
          <ac:chgData name="Hans Gelissen (DHL SSC Maastricht)" userId="1afa8510-4eed-4b73-a29e-678838cd8acd" providerId="ADAL" clId="{3BE47AE8-95D9-40E2-AA3D-C68229D0CBC2}" dt="2023-05-01T12:56:24.966" v="124"/>
          <ac:cxnSpMkLst>
            <pc:docMk/>
            <pc:sldMk cId="3750578925" sldId="289"/>
            <ac:cxnSpMk id="19" creationId="{77CB799A-11FE-751A-1E63-990F1BF678E2}"/>
          </ac:cxnSpMkLst>
        </pc:cxnChg>
        <pc:cxnChg chg="add mod">
          <ac:chgData name="Hans Gelissen (DHL SSC Maastricht)" userId="1afa8510-4eed-4b73-a29e-678838cd8acd" providerId="ADAL" clId="{3BE47AE8-95D9-40E2-AA3D-C68229D0CBC2}" dt="2023-05-01T12:56:24.966" v="124"/>
          <ac:cxnSpMkLst>
            <pc:docMk/>
            <pc:sldMk cId="3750578925" sldId="289"/>
            <ac:cxnSpMk id="20" creationId="{4241ECFE-91D4-50AB-9E60-CB8DFEE320F8}"/>
          </ac:cxnSpMkLst>
        </pc:cxnChg>
        <pc:cxnChg chg="add mod">
          <ac:chgData name="Hans Gelissen (DHL SSC Maastricht)" userId="1afa8510-4eed-4b73-a29e-678838cd8acd" providerId="ADAL" clId="{3BE47AE8-95D9-40E2-AA3D-C68229D0CBC2}" dt="2023-05-01T12:56:24.966" v="124"/>
          <ac:cxnSpMkLst>
            <pc:docMk/>
            <pc:sldMk cId="3750578925" sldId="289"/>
            <ac:cxnSpMk id="21" creationId="{ABF2219F-EAA3-E829-A8DA-6B003BF81B53}"/>
          </ac:cxnSpMkLst>
        </pc:cxnChg>
        <pc:cxnChg chg="add mod">
          <ac:chgData name="Hans Gelissen (DHL SSC Maastricht)" userId="1afa8510-4eed-4b73-a29e-678838cd8acd" providerId="ADAL" clId="{3BE47AE8-95D9-40E2-AA3D-C68229D0CBC2}" dt="2023-05-01T12:56:24.966" v="124"/>
          <ac:cxnSpMkLst>
            <pc:docMk/>
            <pc:sldMk cId="3750578925" sldId="289"/>
            <ac:cxnSpMk id="22" creationId="{910714BB-504B-6D6A-AA74-707E123F0729}"/>
          </ac:cxnSpMkLst>
        </pc:cxnChg>
        <pc:cxnChg chg="add mod">
          <ac:chgData name="Hans Gelissen (DHL SSC Maastricht)" userId="1afa8510-4eed-4b73-a29e-678838cd8acd" providerId="ADAL" clId="{3BE47AE8-95D9-40E2-AA3D-C68229D0CBC2}" dt="2023-05-01T12:56:24.966" v="124"/>
          <ac:cxnSpMkLst>
            <pc:docMk/>
            <pc:sldMk cId="3750578925" sldId="289"/>
            <ac:cxnSpMk id="23" creationId="{EE9AF614-DD91-1A90-390C-4911C5520685}"/>
          </ac:cxnSpMkLst>
        </pc:cxnChg>
        <pc:cxnChg chg="add mod">
          <ac:chgData name="Hans Gelissen (DHL SSC Maastricht)" userId="1afa8510-4eed-4b73-a29e-678838cd8acd" providerId="ADAL" clId="{3BE47AE8-95D9-40E2-AA3D-C68229D0CBC2}" dt="2023-05-01T12:56:24.966" v="124"/>
          <ac:cxnSpMkLst>
            <pc:docMk/>
            <pc:sldMk cId="3750578925" sldId="289"/>
            <ac:cxnSpMk id="24" creationId="{18269CC0-5860-A8DC-D598-900F488F9A78}"/>
          </ac:cxnSpMkLst>
        </pc:cxnChg>
        <pc:cxnChg chg="add mod">
          <ac:chgData name="Hans Gelissen (DHL SSC Maastricht)" userId="1afa8510-4eed-4b73-a29e-678838cd8acd" providerId="ADAL" clId="{3BE47AE8-95D9-40E2-AA3D-C68229D0CBC2}" dt="2023-05-01T12:56:24.966" v="124"/>
          <ac:cxnSpMkLst>
            <pc:docMk/>
            <pc:sldMk cId="3750578925" sldId="289"/>
            <ac:cxnSpMk id="25" creationId="{9116F8DA-B116-F1C7-3649-1E6A7CCDDBF1}"/>
          </ac:cxnSpMkLst>
        </pc:cxnChg>
        <pc:cxnChg chg="add mod">
          <ac:chgData name="Hans Gelissen (DHL SSC Maastricht)" userId="1afa8510-4eed-4b73-a29e-678838cd8acd" providerId="ADAL" clId="{3BE47AE8-95D9-40E2-AA3D-C68229D0CBC2}" dt="2023-05-01T12:56:24.966" v="124"/>
          <ac:cxnSpMkLst>
            <pc:docMk/>
            <pc:sldMk cId="3750578925" sldId="289"/>
            <ac:cxnSpMk id="26" creationId="{2752999D-83FD-4A93-866A-9385C6FF6DC9}"/>
          </ac:cxnSpMkLst>
        </pc:cxnChg>
        <pc:cxnChg chg="add mod">
          <ac:chgData name="Hans Gelissen (DHL SSC Maastricht)" userId="1afa8510-4eed-4b73-a29e-678838cd8acd" providerId="ADAL" clId="{3BE47AE8-95D9-40E2-AA3D-C68229D0CBC2}" dt="2023-05-01T12:56:24.966" v="124"/>
          <ac:cxnSpMkLst>
            <pc:docMk/>
            <pc:sldMk cId="3750578925" sldId="289"/>
            <ac:cxnSpMk id="27" creationId="{5E78453A-B468-960D-C00C-FB5E08F2D5C3}"/>
          </ac:cxnSpMkLst>
        </pc:cxnChg>
        <pc:cxnChg chg="add mod">
          <ac:chgData name="Hans Gelissen (DHL SSC Maastricht)" userId="1afa8510-4eed-4b73-a29e-678838cd8acd" providerId="ADAL" clId="{3BE47AE8-95D9-40E2-AA3D-C68229D0CBC2}" dt="2023-05-01T12:56:24.966" v="124"/>
          <ac:cxnSpMkLst>
            <pc:docMk/>
            <pc:sldMk cId="3750578925" sldId="289"/>
            <ac:cxnSpMk id="28" creationId="{F5E73C00-4C26-779B-051C-AB56B005761A}"/>
          </ac:cxnSpMkLst>
        </pc:cxnChg>
        <pc:cxnChg chg="add mod">
          <ac:chgData name="Hans Gelissen (DHL SSC Maastricht)" userId="1afa8510-4eed-4b73-a29e-678838cd8acd" providerId="ADAL" clId="{3BE47AE8-95D9-40E2-AA3D-C68229D0CBC2}" dt="2023-05-01T12:56:24.966" v="124"/>
          <ac:cxnSpMkLst>
            <pc:docMk/>
            <pc:sldMk cId="3750578925" sldId="289"/>
            <ac:cxnSpMk id="29" creationId="{BCA7A5FF-1D59-885D-E7EA-94856AAE5766}"/>
          </ac:cxnSpMkLst>
        </pc:cxnChg>
        <pc:cxnChg chg="add mod">
          <ac:chgData name="Hans Gelissen (DHL SSC Maastricht)" userId="1afa8510-4eed-4b73-a29e-678838cd8acd" providerId="ADAL" clId="{3BE47AE8-95D9-40E2-AA3D-C68229D0CBC2}" dt="2023-05-01T12:56:24.966" v="124"/>
          <ac:cxnSpMkLst>
            <pc:docMk/>
            <pc:sldMk cId="3750578925" sldId="289"/>
            <ac:cxnSpMk id="30" creationId="{8628F4B5-D7F2-1CFE-7311-16300ED19897}"/>
          </ac:cxnSpMkLst>
        </pc:cxnChg>
        <pc:cxnChg chg="add mod">
          <ac:chgData name="Hans Gelissen (DHL SSC Maastricht)" userId="1afa8510-4eed-4b73-a29e-678838cd8acd" providerId="ADAL" clId="{3BE47AE8-95D9-40E2-AA3D-C68229D0CBC2}" dt="2023-05-01T12:56:24.966" v="124"/>
          <ac:cxnSpMkLst>
            <pc:docMk/>
            <pc:sldMk cId="3750578925" sldId="289"/>
            <ac:cxnSpMk id="31" creationId="{904FBE5B-19D9-45FD-E0DC-C6209AA25DB1}"/>
          </ac:cxnSpMkLst>
        </pc:cxnChg>
        <pc:cxnChg chg="add mod">
          <ac:chgData name="Hans Gelissen (DHL SSC Maastricht)" userId="1afa8510-4eed-4b73-a29e-678838cd8acd" providerId="ADAL" clId="{3BE47AE8-95D9-40E2-AA3D-C68229D0CBC2}" dt="2023-05-01T12:56:24.966" v="124"/>
          <ac:cxnSpMkLst>
            <pc:docMk/>
            <pc:sldMk cId="3750578925" sldId="289"/>
            <ac:cxnSpMk id="32" creationId="{B2A941A6-2B0C-F25B-AF95-3475C194E60E}"/>
          </ac:cxnSpMkLst>
        </pc:cxnChg>
        <pc:cxnChg chg="add mod">
          <ac:chgData name="Hans Gelissen (DHL SSC Maastricht)" userId="1afa8510-4eed-4b73-a29e-678838cd8acd" providerId="ADAL" clId="{3BE47AE8-95D9-40E2-AA3D-C68229D0CBC2}" dt="2023-05-01T12:56:24.966" v="124"/>
          <ac:cxnSpMkLst>
            <pc:docMk/>
            <pc:sldMk cId="3750578925" sldId="289"/>
            <ac:cxnSpMk id="33" creationId="{5F90C101-12E6-0BFF-A716-526778078A7C}"/>
          </ac:cxnSpMkLst>
        </pc:cxnChg>
        <pc:cxnChg chg="add mod">
          <ac:chgData name="Hans Gelissen (DHL SSC Maastricht)" userId="1afa8510-4eed-4b73-a29e-678838cd8acd" providerId="ADAL" clId="{3BE47AE8-95D9-40E2-AA3D-C68229D0CBC2}" dt="2023-05-01T12:56:24.966" v="124"/>
          <ac:cxnSpMkLst>
            <pc:docMk/>
            <pc:sldMk cId="3750578925" sldId="289"/>
            <ac:cxnSpMk id="34" creationId="{ABF876DF-E956-0882-9412-60A76CE64253}"/>
          </ac:cxnSpMkLst>
        </pc:cxnChg>
        <pc:cxnChg chg="add mod">
          <ac:chgData name="Hans Gelissen (DHL SSC Maastricht)" userId="1afa8510-4eed-4b73-a29e-678838cd8acd" providerId="ADAL" clId="{3BE47AE8-95D9-40E2-AA3D-C68229D0CBC2}" dt="2023-05-01T12:56:24.966" v="124"/>
          <ac:cxnSpMkLst>
            <pc:docMk/>
            <pc:sldMk cId="3750578925" sldId="289"/>
            <ac:cxnSpMk id="35" creationId="{40950DD6-EA0A-C81E-AEA4-28229A83A91E}"/>
          </ac:cxnSpMkLst>
        </pc:cxnChg>
      </pc:sldChg>
      <pc:sldChg chg="addSp delSp modSp add mod modClrScheme modAnim chgLayout">
        <pc:chgData name="Hans Gelissen (DHL SSC Maastricht)" userId="1afa8510-4eed-4b73-a29e-678838cd8acd" providerId="ADAL" clId="{3BE47AE8-95D9-40E2-AA3D-C68229D0CBC2}" dt="2023-05-01T13:10:02.745" v="412"/>
        <pc:sldMkLst>
          <pc:docMk/>
          <pc:sldMk cId="2789139180" sldId="290"/>
        </pc:sldMkLst>
        <pc:spChg chg="del mod ord">
          <ac:chgData name="Hans Gelissen (DHL SSC Maastricht)" userId="1afa8510-4eed-4b73-a29e-678838cd8acd" providerId="ADAL" clId="{3BE47AE8-95D9-40E2-AA3D-C68229D0CBC2}" dt="2023-05-01T13:09:25.275" v="364" actId="700"/>
          <ac:spMkLst>
            <pc:docMk/>
            <pc:sldMk cId="2789139180" sldId="290"/>
            <ac:spMk id="2" creationId="{4F270246-E744-77AA-C2E4-31BF5DD24F4E}"/>
          </ac:spMkLst>
        </pc:spChg>
        <pc:spChg chg="del mod ord">
          <ac:chgData name="Hans Gelissen (DHL SSC Maastricht)" userId="1afa8510-4eed-4b73-a29e-678838cd8acd" providerId="ADAL" clId="{3BE47AE8-95D9-40E2-AA3D-C68229D0CBC2}" dt="2023-05-01T13:09:25.275" v="364" actId="700"/>
          <ac:spMkLst>
            <pc:docMk/>
            <pc:sldMk cId="2789139180" sldId="290"/>
            <ac:spMk id="3" creationId="{3D3EB578-CE4A-393F-5D11-A9267766A8C5}"/>
          </ac:spMkLst>
        </pc:spChg>
        <pc:spChg chg="add mod ord">
          <ac:chgData name="Hans Gelissen (DHL SSC Maastricht)" userId="1afa8510-4eed-4b73-a29e-678838cd8acd" providerId="ADAL" clId="{3BE47AE8-95D9-40E2-AA3D-C68229D0CBC2}" dt="2023-05-01T13:09:41.978" v="408" actId="27636"/>
          <ac:spMkLst>
            <pc:docMk/>
            <pc:sldMk cId="2789139180" sldId="290"/>
            <ac:spMk id="4" creationId="{D75D6DB4-E0A3-A7A1-F7AA-C37B2CB8DE25}"/>
          </ac:spMkLst>
        </pc:spChg>
        <pc:spChg chg="add del mod ord">
          <ac:chgData name="Hans Gelissen (DHL SSC Maastricht)" userId="1afa8510-4eed-4b73-a29e-678838cd8acd" providerId="ADAL" clId="{3BE47AE8-95D9-40E2-AA3D-C68229D0CBC2}" dt="2023-05-01T13:09:29.302" v="365" actId="478"/>
          <ac:spMkLst>
            <pc:docMk/>
            <pc:sldMk cId="2789139180" sldId="290"/>
            <ac:spMk id="5" creationId="{E49EFE83-1B85-FF53-88F4-A05159272341}"/>
          </ac:spMkLst>
        </pc:spChg>
        <pc:spChg chg="mod">
          <ac:chgData name="Hans Gelissen (DHL SSC Maastricht)" userId="1afa8510-4eed-4b73-a29e-678838cd8acd" providerId="ADAL" clId="{3BE47AE8-95D9-40E2-AA3D-C68229D0CBC2}" dt="2023-05-01T13:09:57.237" v="411" actId="1076"/>
          <ac:spMkLst>
            <pc:docMk/>
            <pc:sldMk cId="2789139180" sldId="290"/>
            <ac:spMk id="7" creationId="{7AFD37C5-630A-9BC0-0059-3E703F7E6B99}"/>
          </ac:spMkLst>
        </pc:spChg>
        <pc:spChg chg="mod">
          <ac:chgData name="Hans Gelissen (DHL SSC Maastricht)" userId="1afa8510-4eed-4b73-a29e-678838cd8acd" providerId="ADAL" clId="{3BE47AE8-95D9-40E2-AA3D-C68229D0CBC2}" dt="2023-05-01T13:09:57.237" v="411" actId="1076"/>
          <ac:spMkLst>
            <pc:docMk/>
            <pc:sldMk cId="2789139180" sldId="290"/>
            <ac:spMk id="8" creationId="{E41CA443-8FF1-FE3E-D4D3-59C1703FC66C}"/>
          </ac:spMkLst>
        </pc:spChg>
        <pc:spChg chg="mod">
          <ac:chgData name="Hans Gelissen (DHL SSC Maastricht)" userId="1afa8510-4eed-4b73-a29e-678838cd8acd" providerId="ADAL" clId="{3BE47AE8-95D9-40E2-AA3D-C68229D0CBC2}" dt="2023-05-01T13:09:57.237" v="411" actId="1076"/>
          <ac:spMkLst>
            <pc:docMk/>
            <pc:sldMk cId="2789139180" sldId="290"/>
            <ac:spMk id="10" creationId="{759C850D-A349-6CBE-AB60-4DE77E154C1B}"/>
          </ac:spMkLst>
        </pc:spChg>
        <pc:spChg chg="mod">
          <ac:chgData name="Hans Gelissen (DHL SSC Maastricht)" userId="1afa8510-4eed-4b73-a29e-678838cd8acd" providerId="ADAL" clId="{3BE47AE8-95D9-40E2-AA3D-C68229D0CBC2}" dt="2023-05-01T13:09:57.237" v="411" actId="1076"/>
          <ac:spMkLst>
            <pc:docMk/>
            <pc:sldMk cId="2789139180" sldId="290"/>
            <ac:spMk id="11" creationId="{49A9AE03-9555-1E13-A2EB-874036A81E01}"/>
          </ac:spMkLst>
        </pc:spChg>
        <pc:grpChg chg="add mod">
          <ac:chgData name="Hans Gelissen (DHL SSC Maastricht)" userId="1afa8510-4eed-4b73-a29e-678838cd8acd" providerId="ADAL" clId="{3BE47AE8-95D9-40E2-AA3D-C68229D0CBC2}" dt="2023-05-01T13:09:57.237" v="411" actId="1076"/>
          <ac:grpSpMkLst>
            <pc:docMk/>
            <pc:sldMk cId="2789139180" sldId="290"/>
            <ac:grpSpMk id="6" creationId="{04025C3C-456D-2111-D8B8-0139C2364A24}"/>
          </ac:grpSpMkLst>
        </pc:grpChg>
        <pc:grpChg chg="add mod">
          <ac:chgData name="Hans Gelissen (DHL SSC Maastricht)" userId="1afa8510-4eed-4b73-a29e-678838cd8acd" providerId="ADAL" clId="{3BE47AE8-95D9-40E2-AA3D-C68229D0CBC2}" dt="2023-05-01T13:09:57.237" v="411" actId="1076"/>
          <ac:grpSpMkLst>
            <pc:docMk/>
            <pc:sldMk cId="2789139180" sldId="290"/>
            <ac:grpSpMk id="9" creationId="{FF7056FE-A34A-E73A-ED2F-E498E95301E8}"/>
          </ac:grpSpMkLst>
        </pc:grpChg>
        <pc:picChg chg="add mod">
          <ac:chgData name="Hans Gelissen (DHL SSC Maastricht)" userId="1afa8510-4eed-4b73-a29e-678838cd8acd" providerId="ADAL" clId="{3BE47AE8-95D9-40E2-AA3D-C68229D0CBC2}" dt="2023-05-01T13:09:57.237" v="411" actId="1076"/>
          <ac:picMkLst>
            <pc:docMk/>
            <pc:sldMk cId="2789139180" sldId="290"/>
            <ac:picMk id="12" creationId="{A48FDEEB-3603-434A-CD15-78618FFF7F5B}"/>
          </ac:picMkLst>
        </pc:picChg>
        <pc:picChg chg="add mod">
          <ac:chgData name="Hans Gelissen (DHL SSC Maastricht)" userId="1afa8510-4eed-4b73-a29e-678838cd8acd" providerId="ADAL" clId="{3BE47AE8-95D9-40E2-AA3D-C68229D0CBC2}" dt="2023-05-01T13:09:57.237" v="411" actId="1076"/>
          <ac:picMkLst>
            <pc:docMk/>
            <pc:sldMk cId="2789139180" sldId="290"/>
            <ac:picMk id="13" creationId="{D0D06462-4778-9C4C-D0B8-126F5AF18083}"/>
          </ac:picMkLst>
        </pc:picChg>
      </pc:sldChg>
      <pc:sldChg chg="addSp delSp modSp add mod modClrScheme chgLayout">
        <pc:chgData name="Hans Gelissen (DHL SSC Maastricht)" userId="1afa8510-4eed-4b73-a29e-678838cd8acd" providerId="ADAL" clId="{3BE47AE8-95D9-40E2-AA3D-C68229D0CBC2}" dt="2023-05-01T13:11:39.939" v="437" actId="27636"/>
        <pc:sldMkLst>
          <pc:docMk/>
          <pc:sldMk cId="1466941950" sldId="291"/>
        </pc:sldMkLst>
        <pc:spChg chg="del mod ord">
          <ac:chgData name="Hans Gelissen (DHL SSC Maastricht)" userId="1afa8510-4eed-4b73-a29e-678838cd8acd" providerId="ADAL" clId="{3BE47AE8-95D9-40E2-AA3D-C68229D0CBC2}" dt="2023-05-01T13:10:47.395" v="418" actId="700"/>
          <ac:spMkLst>
            <pc:docMk/>
            <pc:sldMk cId="1466941950" sldId="291"/>
            <ac:spMk id="2" creationId="{4F270246-E744-77AA-C2E4-31BF5DD24F4E}"/>
          </ac:spMkLst>
        </pc:spChg>
        <pc:spChg chg="del mod ord">
          <ac:chgData name="Hans Gelissen (DHL SSC Maastricht)" userId="1afa8510-4eed-4b73-a29e-678838cd8acd" providerId="ADAL" clId="{3BE47AE8-95D9-40E2-AA3D-C68229D0CBC2}" dt="2023-05-01T13:10:47.395" v="418" actId="700"/>
          <ac:spMkLst>
            <pc:docMk/>
            <pc:sldMk cId="1466941950" sldId="291"/>
            <ac:spMk id="3" creationId="{3D3EB578-CE4A-393F-5D11-A9267766A8C5}"/>
          </ac:spMkLst>
        </pc:spChg>
        <pc:spChg chg="add mod ord">
          <ac:chgData name="Hans Gelissen (DHL SSC Maastricht)" userId="1afa8510-4eed-4b73-a29e-678838cd8acd" providerId="ADAL" clId="{3BE47AE8-95D9-40E2-AA3D-C68229D0CBC2}" dt="2023-05-01T13:11:39.939" v="437" actId="27636"/>
          <ac:spMkLst>
            <pc:docMk/>
            <pc:sldMk cId="1466941950" sldId="291"/>
            <ac:spMk id="4" creationId="{626D82C9-EE77-756A-04D8-6907B58835F9}"/>
          </ac:spMkLst>
        </pc:spChg>
        <pc:spChg chg="add mod ord">
          <ac:chgData name="Hans Gelissen (DHL SSC Maastricht)" userId="1afa8510-4eed-4b73-a29e-678838cd8acd" providerId="ADAL" clId="{3BE47AE8-95D9-40E2-AA3D-C68229D0CBC2}" dt="2023-05-01T13:11:19.909" v="433" actId="6549"/>
          <ac:spMkLst>
            <pc:docMk/>
            <pc:sldMk cId="1466941950" sldId="291"/>
            <ac:spMk id="5" creationId="{6395935A-F99E-48DC-CB26-617B72E72650}"/>
          </ac:spMkLst>
        </pc:spChg>
      </pc:sldChg>
      <pc:sldChg chg="addSp delSp modSp add mod modClrScheme chgLayout">
        <pc:chgData name="Hans Gelissen (DHL SSC Maastricht)" userId="1afa8510-4eed-4b73-a29e-678838cd8acd" providerId="ADAL" clId="{3BE47AE8-95D9-40E2-AA3D-C68229D0CBC2}" dt="2023-05-01T13:10:18.120" v="417" actId="113"/>
        <pc:sldMkLst>
          <pc:docMk/>
          <pc:sldMk cId="381633546" sldId="292"/>
        </pc:sldMkLst>
        <pc:spChg chg="del mod ord">
          <ac:chgData name="Hans Gelissen (DHL SSC Maastricht)" userId="1afa8510-4eed-4b73-a29e-678838cd8acd" providerId="ADAL" clId="{3BE47AE8-95D9-40E2-AA3D-C68229D0CBC2}" dt="2023-05-01T12:56:38.789" v="125" actId="700"/>
          <ac:spMkLst>
            <pc:docMk/>
            <pc:sldMk cId="381633546" sldId="292"/>
            <ac:spMk id="2" creationId="{4F270246-E744-77AA-C2E4-31BF5DD24F4E}"/>
          </ac:spMkLst>
        </pc:spChg>
        <pc:spChg chg="del">
          <ac:chgData name="Hans Gelissen (DHL SSC Maastricht)" userId="1afa8510-4eed-4b73-a29e-678838cd8acd" providerId="ADAL" clId="{3BE47AE8-95D9-40E2-AA3D-C68229D0CBC2}" dt="2023-05-01T12:56:38.789" v="125" actId="700"/>
          <ac:spMkLst>
            <pc:docMk/>
            <pc:sldMk cId="381633546" sldId="292"/>
            <ac:spMk id="3" creationId="{3D3EB578-CE4A-393F-5D11-A9267766A8C5}"/>
          </ac:spMkLst>
        </pc:spChg>
        <pc:spChg chg="add mod ord">
          <ac:chgData name="Hans Gelissen (DHL SSC Maastricht)" userId="1afa8510-4eed-4b73-a29e-678838cd8acd" providerId="ADAL" clId="{3BE47AE8-95D9-40E2-AA3D-C68229D0CBC2}" dt="2023-05-01T13:03:40.653" v="178" actId="27636"/>
          <ac:spMkLst>
            <pc:docMk/>
            <pc:sldMk cId="381633546" sldId="292"/>
            <ac:spMk id="4" creationId="{5C70A89A-BEF0-13CC-A6A5-3B43474F3794}"/>
          </ac:spMkLst>
        </pc:spChg>
        <pc:spChg chg="add mod ord">
          <ac:chgData name="Hans Gelissen (DHL SSC Maastricht)" userId="1afa8510-4eed-4b73-a29e-678838cd8acd" providerId="ADAL" clId="{3BE47AE8-95D9-40E2-AA3D-C68229D0CBC2}" dt="2023-05-01T13:10:18.120" v="417" actId="113"/>
          <ac:spMkLst>
            <pc:docMk/>
            <pc:sldMk cId="381633546" sldId="292"/>
            <ac:spMk id="5" creationId="{B69414E4-B57E-BFD8-4E82-C768BFCB87BC}"/>
          </ac:spMkLst>
        </pc:spChg>
      </pc:sldChg>
      <pc:sldChg chg="addSp delSp modSp add mod modClrScheme delAnim modAnim chgLayout">
        <pc:chgData name="Hans Gelissen (DHL SSC Maastricht)" userId="1afa8510-4eed-4b73-a29e-678838cd8acd" providerId="ADAL" clId="{3BE47AE8-95D9-40E2-AA3D-C68229D0CBC2}" dt="2023-05-01T13:06:58.837" v="274" actId="14100"/>
        <pc:sldMkLst>
          <pc:docMk/>
          <pc:sldMk cId="1219973469" sldId="293"/>
        </pc:sldMkLst>
        <pc:spChg chg="del mod ord">
          <ac:chgData name="Hans Gelissen (DHL SSC Maastricht)" userId="1afa8510-4eed-4b73-a29e-678838cd8acd" providerId="ADAL" clId="{3BE47AE8-95D9-40E2-AA3D-C68229D0CBC2}" dt="2023-05-01T12:59:55.165" v="161" actId="700"/>
          <ac:spMkLst>
            <pc:docMk/>
            <pc:sldMk cId="1219973469" sldId="293"/>
            <ac:spMk id="2" creationId="{4F270246-E744-77AA-C2E4-31BF5DD24F4E}"/>
          </ac:spMkLst>
        </pc:spChg>
        <pc:spChg chg="del mod ord">
          <ac:chgData name="Hans Gelissen (DHL SSC Maastricht)" userId="1afa8510-4eed-4b73-a29e-678838cd8acd" providerId="ADAL" clId="{3BE47AE8-95D9-40E2-AA3D-C68229D0CBC2}" dt="2023-05-01T12:59:55.165" v="161" actId="700"/>
          <ac:spMkLst>
            <pc:docMk/>
            <pc:sldMk cId="1219973469" sldId="293"/>
            <ac:spMk id="3" creationId="{3D3EB578-CE4A-393F-5D11-A9267766A8C5}"/>
          </ac:spMkLst>
        </pc:spChg>
        <pc:spChg chg="add del mod ord">
          <ac:chgData name="Hans Gelissen (DHL SSC Maastricht)" userId="1afa8510-4eed-4b73-a29e-678838cd8acd" providerId="ADAL" clId="{3BE47AE8-95D9-40E2-AA3D-C68229D0CBC2}" dt="2023-05-01T13:03:14.979" v="173" actId="700"/>
          <ac:spMkLst>
            <pc:docMk/>
            <pc:sldMk cId="1219973469" sldId="293"/>
            <ac:spMk id="4" creationId="{A5D137C8-A911-39A2-3639-93BC29258CA1}"/>
          </ac:spMkLst>
        </pc:spChg>
        <pc:spChg chg="add del mod ord">
          <ac:chgData name="Hans Gelissen (DHL SSC Maastricht)" userId="1afa8510-4eed-4b73-a29e-678838cd8acd" providerId="ADAL" clId="{3BE47AE8-95D9-40E2-AA3D-C68229D0CBC2}" dt="2023-05-01T13:00:46.271" v="166" actId="478"/>
          <ac:spMkLst>
            <pc:docMk/>
            <pc:sldMk cId="1219973469" sldId="293"/>
            <ac:spMk id="5" creationId="{DEE1E494-5113-6035-9BAE-5D3EF0EE9C19}"/>
          </ac:spMkLst>
        </pc:spChg>
        <pc:spChg chg="add del mod">
          <ac:chgData name="Hans Gelissen (DHL SSC Maastricht)" userId="1afa8510-4eed-4b73-a29e-678838cd8acd" providerId="ADAL" clId="{3BE47AE8-95D9-40E2-AA3D-C68229D0CBC2}" dt="2023-05-01T13:03:08.889" v="172" actId="478"/>
          <ac:spMkLst>
            <pc:docMk/>
            <pc:sldMk cId="1219973469" sldId="293"/>
            <ac:spMk id="6" creationId="{C6357589-795E-031F-DAF5-CBBFEB40F5BE}"/>
          </ac:spMkLst>
        </pc:spChg>
        <pc:spChg chg="add mod ord">
          <ac:chgData name="Hans Gelissen (DHL SSC Maastricht)" userId="1afa8510-4eed-4b73-a29e-678838cd8acd" providerId="ADAL" clId="{3BE47AE8-95D9-40E2-AA3D-C68229D0CBC2}" dt="2023-05-01T13:03:58.695" v="212" actId="20577"/>
          <ac:spMkLst>
            <pc:docMk/>
            <pc:sldMk cId="1219973469" sldId="293"/>
            <ac:spMk id="7" creationId="{36BC33CF-7DC6-7458-5833-CBF4C68063DF}"/>
          </ac:spMkLst>
        </pc:spChg>
        <pc:spChg chg="add del mod ord">
          <ac:chgData name="Hans Gelissen (DHL SSC Maastricht)" userId="1afa8510-4eed-4b73-a29e-678838cd8acd" providerId="ADAL" clId="{3BE47AE8-95D9-40E2-AA3D-C68229D0CBC2}" dt="2023-05-01T13:06:58.837" v="274" actId="14100"/>
          <ac:spMkLst>
            <pc:docMk/>
            <pc:sldMk cId="1219973469" sldId="293"/>
            <ac:spMk id="8" creationId="{583A2DB6-F77A-117B-97CF-04289A29DEFF}"/>
          </ac:spMkLst>
        </pc:spChg>
        <pc:spChg chg="add del mod">
          <ac:chgData name="Hans Gelissen (DHL SSC Maastricht)" userId="1afa8510-4eed-4b73-a29e-678838cd8acd" providerId="ADAL" clId="{3BE47AE8-95D9-40E2-AA3D-C68229D0CBC2}" dt="2023-05-01T13:05:34.154" v="245"/>
          <ac:spMkLst>
            <pc:docMk/>
            <pc:sldMk cId="1219973469" sldId="293"/>
            <ac:spMk id="10" creationId="{459E3AF2-20F6-38CC-38B4-2BAAC1983CFD}"/>
          </ac:spMkLst>
        </pc:spChg>
        <pc:spChg chg="add del mod">
          <ac:chgData name="Hans Gelissen (DHL SSC Maastricht)" userId="1afa8510-4eed-4b73-a29e-678838cd8acd" providerId="ADAL" clId="{3BE47AE8-95D9-40E2-AA3D-C68229D0CBC2}" dt="2023-05-01T13:05:57.900" v="255" actId="478"/>
          <ac:spMkLst>
            <pc:docMk/>
            <pc:sldMk cId="1219973469" sldId="293"/>
            <ac:spMk id="12" creationId="{4688D1DF-A828-BF39-C9F2-1A051AD957F9}"/>
          </ac:spMkLst>
        </pc:spChg>
        <pc:graphicFrameChg chg="add del mod">
          <ac:chgData name="Hans Gelissen (DHL SSC Maastricht)" userId="1afa8510-4eed-4b73-a29e-678838cd8acd" providerId="ADAL" clId="{3BE47AE8-95D9-40E2-AA3D-C68229D0CBC2}" dt="2023-05-01T13:05:34.154" v="245"/>
          <ac:graphicFrameMkLst>
            <pc:docMk/>
            <pc:sldMk cId="1219973469" sldId="293"/>
            <ac:graphicFrameMk id="9" creationId="{C7D0E4E8-ED83-361B-73CA-9259B3E32A01}"/>
          </ac:graphicFrameMkLst>
        </pc:graphicFrameChg>
      </pc:sldChg>
      <pc:sldChg chg="addSp delSp modSp add mod modClrScheme chgLayout">
        <pc:chgData name="Hans Gelissen (DHL SSC Maastricht)" userId="1afa8510-4eed-4b73-a29e-678838cd8acd" providerId="ADAL" clId="{3BE47AE8-95D9-40E2-AA3D-C68229D0CBC2}" dt="2023-05-01T13:07:47.499" v="336" actId="27636"/>
        <pc:sldMkLst>
          <pc:docMk/>
          <pc:sldMk cId="108745274" sldId="294"/>
        </pc:sldMkLst>
        <pc:spChg chg="del mod ord">
          <ac:chgData name="Hans Gelissen (DHL SSC Maastricht)" userId="1afa8510-4eed-4b73-a29e-678838cd8acd" providerId="ADAL" clId="{3BE47AE8-95D9-40E2-AA3D-C68229D0CBC2}" dt="2023-05-01T13:07:23.403" v="275" actId="700"/>
          <ac:spMkLst>
            <pc:docMk/>
            <pc:sldMk cId="108745274" sldId="294"/>
            <ac:spMk id="2" creationId="{4F270246-E744-77AA-C2E4-31BF5DD24F4E}"/>
          </ac:spMkLst>
        </pc:spChg>
        <pc:spChg chg="del mod ord">
          <ac:chgData name="Hans Gelissen (DHL SSC Maastricht)" userId="1afa8510-4eed-4b73-a29e-678838cd8acd" providerId="ADAL" clId="{3BE47AE8-95D9-40E2-AA3D-C68229D0CBC2}" dt="2023-05-01T13:07:23.403" v="275" actId="700"/>
          <ac:spMkLst>
            <pc:docMk/>
            <pc:sldMk cId="108745274" sldId="294"/>
            <ac:spMk id="3" creationId="{3D3EB578-CE4A-393F-5D11-A9267766A8C5}"/>
          </ac:spMkLst>
        </pc:spChg>
        <pc:spChg chg="add mod ord">
          <ac:chgData name="Hans Gelissen (DHL SSC Maastricht)" userId="1afa8510-4eed-4b73-a29e-678838cd8acd" providerId="ADAL" clId="{3BE47AE8-95D9-40E2-AA3D-C68229D0CBC2}" dt="2023-05-01T13:07:47.499" v="336" actId="27636"/>
          <ac:spMkLst>
            <pc:docMk/>
            <pc:sldMk cId="108745274" sldId="294"/>
            <ac:spMk id="4" creationId="{5FDA337D-A5EF-2622-A55A-FB5F54884260}"/>
          </ac:spMkLst>
        </pc:spChg>
        <pc:spChg chg="add del mod ord">
          <ac:chgData name="Hans Gelissen (DHL SSC Maastricht)" userId="1afa8510-4eed-4b73-a29e-678838cd8acd" providerId="ADAL" clId="{3BE47AE8-95D9-40E2-AA3D-C68229D0CBC2}" dt="2023-05-01T13:07:30.794" v="276" actId="478"/>
          <ac:spMkLst>
            <pc:docMk/>
            <pc:sldMk cId="108745274" sldId="294"/>
            <ac:spMk id="5" creationId="{7E8EA97A-69A7-1FC5-FAF9-107C1DACF08E}"/>
          </ac:spMkLst>
        </pc:spChg>
        <pc:spChg chg="add mod">
          <ac:chgData name="Hans Gelissen (DHL SSC Maastricht)" userId="1afa8510-4eed-4b73-a29e-678838cd8acd" providerId="ADAL" clId="{3BE47AE8-95D9-40E2-AA3D-C68229D0CBC2}" dt="2023-05-01T13:07:31.011" v="277"/>
          <ac:spMkLst>
            <pc:docMk/>
            <pc:sldMk cId="108745274" sldId="294"/>
            <ac:spMk id="15" creationId="{416356DD-2EF1-EE7B-D4FD-DD7F87081F44}"/>
          </ac:spMkLst>
        </pc:spChg>
        <pc:spChg chg="add mod">
          <ac:chgData name="Hans Gelissen (DHL SSC Maastricht)" userId="1afa8510-4eed-4b73-a29e-678838cd8acd" providerId="ADAL" clId="{3BE47AE8-95D9-40E2-AA3D-C68229D0CBC2}" dt="2023-05-01T13:07:31.011" v="277"/>
          <ac:spMkLst>
            <pc:docMk/>
            <pc:sldMk cId="108745274" sldId="294"/>
            <ac:spMk id="16" creationId="{FDD93617-5D5F-36AB-1F94-A6CFE4983F2F}"/>
          </ac:spMkLst>
        </pc:spChg>
        <pc:spChg chg="add mod">
          <ac:chgData name="Hans Gelissen (DHL SSC Maastricht)" userId="1afa8510-4eed-4b73-a29e-678838cd8acd" providerId="ADAL" clId="{3BE47AE8-95D9-40E2-AA3D-C68229D0CBC2}" dt="2023-05-01T13:07:31.011" v="277"/>
          <ac:spMkLst>
            <pc:docMk/>
            <pc:sldMk cId="108745274" sldId="294"/>
            <ac:spMk id="17" creationId="{3EB994A2-4039-A732-E392-84FFA221D6F8}"/>
          </ac:spMkLst>
        </pc:spChg>
        <pc:spChg chg="add mod">
          <ac:chgData name="Hans Gelissen (DHL SSC Maastricht)" userId="1afa8510-4eed-4b73-a29e-678838cd8acd" providerId="ADAL" clId="{3BE47AE8-95D9-40E2-AA3D-C68229D0CBC2}" dt="2023-05-01T13:07:31.011" v="277"/>
          <ac:spMkLst>
            <pc:docMk/>
            <pc:sldMk cId="108745274" sldId="294"/>
            <ac:spMk id="18" creationId="{2E4FEBBF-E90F-D2C7-B896-5E9D92775019}"/>
          </ac:spMkLst>
        </pc:spChg>
        <pc:spChg chg="add mod">
          <ac:chgData name="Hans Gelissen (DHL SSC Maastricht)" userId="1afa8510-4eed-4b73-a29e-678838cd8acd" providerId="ADAL" clId="{3BE47AE8-95D9-40E2-AA3D-C68229D0CBC2}" dt="2023-05-01T13:07:31.011" v="277"/>
          <ac:spMkLst>
            <pc:docMk/>
            <pc:sldMk cId="108745274" sldId="294"/>
            <ac:spMk id="19" creationId="{18D38218-99D3-2858-16FE-20FC2CE8C91D}"/>
          </ac:spMkLst>
        </pc:spChg>
        <pc:spChg chg="add mod">
          <ac:chgData name="Hans Gelissen (DHL SSC Maastricht)" userId="1afa8510-4eed-4b73-a29e-678838cd8acd" providerId="ADAL" clId="{3BE47AE8-95D9-40E2-AA3D-C68229D0CBC2}" dt="2023-05-01T13:07:31.011" v="277"/>
          <ac:spMkLst>
            <pc:docMk/>
            <pc:sldMk cId="108745274" sldId="294"/>
            <ac:spMk id="20" creationId="{69710B58-5BD4-1C4B-C8BB-257C1FD285ED}"/>
          </ac:spMkLst>
        </pc:spChg>
        <pc:spChg chg="add mod">
          <ac:chgData name="Hans Gelissen (DHL SSC Maastricht)" userId="1afa8510-4eed-4b73-a29e-678838cd8acd" providerId="ADAL" clId="{3BE47AE8-95D9-40E2-AA3D-C68229D0CBC2}" dt="2023-05-01T13:07:31.011" v="277"/>
          <ac:spMkLst>
            <pc:docMk/>
            <pc:sldMk cId="108745274" sldId="294"/>
            <ac:spMk id="21" creationId="{8E79AD6C-9530-7CB9-D4FF-C2B6E1B213EA}"/>
          </ac:spMkLst>
        </pc:spChg>
        <pc:spChg chg="add mod">
          <ac:chgData name="Hans Gelissen (DHL SSC Maastricht)" userId="1afa8510-4eed-4b73-a29e-678838cd8acd" providerId="ADAL" clId="{3BE47AE8-95D9-40E2-AA3D-C68229D0CBC2}" dt="2023-05-01T13:07:31.011" v="277"/>
          <ac:spMkLst>
            <pc:docMk/>
            <pc:sldMk cId="108745274" sldId="294"/>
            <ac:spMk id="22" creationId="{CFB3D655-F5BA-A507-08FE-CDF4A853D543}"/>
          </ac:spMkLst>
        </pc:spChg>
        <pc:spChg chg="add mod">
          <ac:chgData name="Hans Gelissen (DHL SSC Maastricht)" userId="1afa8510-4eed-4b73-a29e-678838cd8acd" providerId="ADAL" clId="{3BE47AE8-95D9-40E2-AA3D-C68229D0CBC2}" dt="2023-05-01T13:07:31.011" v="277"/>
          <ac:spMkLst>
            <pc:docMk/>
            <pc:sldMk cId="108745274" sldId="294"/>
            <ac:spMk id="23" creationId="{508BB449-4A0F-575C-852E-1F0881B4BD40}"/>
          </ac:spMkLst>
        </pc:spChg>
        <pc:picChg chg="add mod">
          <ac:chgData name="Hans Gelissen (DHL SSC Maastricht)" userId="1afa8510-4eed-4b73-a29e-678838cd8acd" providerId="ADAL" clId="{3BE47AE8-95D9-40E2-AA3D-C68229D0CBC2}" dt="2023-05-01T13:07:31.011" v="277"/>
          <ac:picMkLst>
            <pc:docMk/>
            <pc:sldMk cId="108745274" sldId="294"/>
            <ac:picMk id="6" creationId="{120EEBA9-4E32-7424-93EE-41F2052926C5}"/>
          </ac:picMkLst>
        </pc:picChg>
        <pc:picChg chg="add mod">
          <ac:chgData name="Hans Gelissen (DHL SSC Maastricht)" userId="1afa8510-4eed-4b73-a29e-678838cd8acd" providerId="ADAL" clId="{3BE47AE8-95D9-40E2-AA3D-C68229D0CBC2}" dt="2023-05-01T13:07:31.011" v="277"/>
          <ac:picMkLst>
            <pc:docMk/>
            <pc:sldMk cId="108745274" sldId="294"/>
            <ac:picMk id="7" creationId="{865AE2C9-03D9-18E9-6CF6-AF4CB55A1431}"/>
          </ac:picMkLst>
        </pc:picChg>
        <pc:picChg chg="add mod">
          <ac:chgData name="Hans Gelissen (DHL SSC Maastricht)" userId="1afa8510-4eed-4b73-a29e-678838cd8acd" providerId="ADAL" clId="{3BE47AE8-95D9-40E2-AA3D-C68229D0CBC2}" dt="2023-05-01T13:07:31.011" v="277"/>
          <ac:picMkLst>
            <pc:docMk/>
            <pc:sldMk cId="108745274" sldId="294"/>
            <ac:picMk id="8" creationId="{B197EF58-CBD0-39D6-691A-1C45DD4C753C}"/>
          </ac:picMkLst>
        </pc:picChg>
        <pc:picChg chg="add mod">
          <ac:chgData name="Hans Gelissen (DHL SSC Maastricht)" userId="1afa8510-4eed-4b73-a29e-678838cd8acd" providerId="ADAL" clId="{3BE47AE8-95D9-40E2-AA3D-C68229D0CBC2}" dt="2023-05-01T13:07:31.011" v="277"/>
          <ac:picMkLst>
            <pc:docMk/>
            <pc:sldMk cId="108745274" sldId="294"/>
            <ac:picMk id="9" creationId="{89801E72-474E-D3B5-95D3-40F5FD1F71EF}"/>
          </ac:picMkLst>
        </pc:picChg>
        <pc:picChg chg="add mod">
          <ac:chgData name="Hans Gelissen (DHL SSC Maastricht)" userId="1afa8510-4eed-4b73-a29e-678838cd8acd" providerId="ADAL" clId="{3BE47AE8-95D9-40E2-AA3D-C68229D0CBC2}" dt="2023-05-01T13:07:31.011" v="277"/>
          <ac:picMkLst>
            <pc:docMk/>
            <pc:sldMk cId="108745274" sldId="294"/>
            <ac:picMk id="10" creationId="{BF4FF298-1190-67DD-6F1C-014394D09863}"/>
          </ac:picMkLst>
        </pc:picChg>
        <pc:picChg chg="add mod">
          <ac:chgData name="Hans Gelissen (DHL SSC Maastricht)" userId="1afa8510-4eed-4b73-a29e-678838cd8acd" providerId="ADAL" clId="{3BE47AE8-95D9-40E2-AA3D-C68229D0CBC2}" dt="2023-05-01T13:07:31.011" v="277"/>
          <ac:picMkLst>
            <pc:docMk/>
            <pc:sldMk cId="108745274" sldId="294"/>
            <ac:picMk id="11" creationId="{F6EE2251-E540-7E7A-59BF-3B2FA39D5C89}"/>
          </ac:picMkLst>
        </pc:picChg>
        <pc:picChg chg="add mod">
          <ac:chgData name="Hans Gelissen (DHL SSC Maastricht)" userId="1afa8510-4eed-4b73-a29e-678838cd8acd" providerId="ADAL" clId="{3BE47AE8-95D9-40E2-AA3D-C68229D0CBC2}" dt="2023-05-01T13:07:31.011" v="277"/>
          <ac:picMkLst>
            <pc:docMk/>
            <pc:sldMk cId="108745274" sldId="294"/>
            <ac:picMk id="12" creationId="{A13DE486-E081-FD30-717D-958256A19A40}"/>
          </ac:picMkLst>
        </pc:picChg>
        <pc:picChg chg="add mod">
          <ac:chgData name="Hans Gelissen (DHL SSC Maastricht)" userId="1afa8510-4eed-4b73-a29e-678838cd8acd" providerId="ADAL" clId="{3BE47AE8-95D9-40E2-AA3D-C68229D0CBC2}" dt="2023-05-01T13:07:31.011" v="277"/>
          <ac:picMkLst>
            <pc:docMk/>
            <pc:sldMk cId="108745274" sldId="294"/>
            <ac:picMk id="13" creationId="{F1542C7B-C9BD-1C7B-9CBA-CD6B300DF9BA}"/>
          </ac:picMkLst>
        </pc:picChg>
        <pc:picChg chg="add mod">
          <ac:chgData name="Hans Gelissen (DHL SSC Maastricht)" userId="1afa8510-4eed-4b73-a29e-678838cd8acd" providerId="ADAL" clId="{3BE47AE8-95D9-40E2-AA3D-C68229D0CBC2}" dt="2023-05-01T13:07:31.011" v="277"/>
          <ac:picMkLst>
            <pc:docMk/>
            <pc:sldMk cId="108745274" sldId="294"/>
            <ac:picMk id="14" creationId="{7088D7C3-4631-1F35-3DF1-AD7EAF9B15AD}"/>
          </ac:picMkLst>
        </pc:picChg>
      </pc:sldChg>
      <pc:sldChg chg="addSp delSp modSp add mod modClrScheme chgLayout">
        <pc:chgData name="Hans Gelissen (DHL SSC Maastricht)" userId="1afa8510-4eed-4b73-a29e-678838cd8acd" providerId="ADAL" clId="{3BE47AE8-95D9-40E2-AA3D-C68229D0CBC2}" dt="2023-05-01T13:08:59.303" v="363" actId="20577"/>
        <pc:sldMkLst>
          <pc:docMk/>
          <pc:sldMk cId="2587913709" sldId="295"/>
        </pc:sldMkLst>
        <pc:spChg chg="del mod ord">
          <ac:chgData name="Hans Gelissen (DHL SSC Maastricht)" userId="1afa8510-4eed-4b73-a29e-678838cd8acd" providerId="ADAL" clId="{3BE47AE8-95D9-40E2-AA3D-C68229D0CBC2}" dt="2023-05-01T13:08:21.227" v="337" actId="700"/>
          <ac:spMkLst>
            <pc:docMk/>
            <pc:sldMk cId="2587913709" sldId="295"/>
            <ac:spMk id="2" creationId="{4F270246-E744-77AA-C2E4-31BF5DD24F4E}"/>
          </ac:spMkLst>
        </pc:spChg>
        <pc:spChg chg="del mod ord">
          <ac:chgData name="Hans Gelissen (DHL SSC Maastricht)" userId="1afa8510-4eed-4b73-a29e-678838cd8acd" providerId="ADAL" clId="{3BE47AE8-95D9-40E2-AA3D-C68229D0CBC2}" dt="2023-05-01T13:08:21.227" v="337" actId="700"/>
          <ac:spMkLst>
            <pc:docMk/>
            <pc:sldMk cId="2587913709" sldId="295"/>
            <ac:spMk id="3" creationId="{3D3EB578-CE4A-393F-5D11-A9267766A8C5}"/>
          </ac:spMkLst>
        </pc:spChg>
        <pc:spChg chg="add del mod ord">
          <ac:chgData name="Hans Gelissen (DHL SSC Maastricht)" userId="1afa8510-4eed-4b73-a29e-678838cd8acd" providerId="ADAL" clId="{3BE47AE8-95D9-40E2-AA3D-C68229D0CBC2}" dt="2023-05-01T13:08:28.460" v="338" actId="700"/>
          <ac:spMkLst>
            <pc:docMk/>
            <pc:sldMk cId="2587913709" sldId="295"/>
            <ac:spMk id="4" creationId="{28D78C85-6116-C740-5D8D-4D998D56FF25}"/>
          </ac:spMkLst>
        </pc:spChg>
        <pc:spChg chg="add del mod ord">
          <ac:chgData name="Hans Gelissen (DHL SSC Maastricht)" userId="1afa8510-4eed-4b73-a29e-678838cd8acd" providerId="ADAL" clId="{3BE47AE8-95D9-40E2-AA3D-C68229D0CBC2}" dt="2023-05-01T13:08:28.460" v="338" actId="700"/>
          <ac:spMkLst>
            <pc:docMk/>
            <pc:sldMk cId="2587913709" sldId="295"/>
            <ac:spMk id="5" creationId="{94471875-832B-98CC-5D47-0BCB3EA37C4C}"/>
          </ac:spMkLst>
        </pc:spChg>
        <pc:spChg chg="add mod ord">
          <ac:chgData name="Hans Gelissen (DHL SSC Maastricht)" userId="1afa8510-4eed-4b73-a29e-678838cd8acd" providerId="ADAL" clId="{3BE47AE8-95D9-40E2-AA3D-C68229D0CBC2}" dt="2023-05-01T13:08:59.303" v="363" actId="20577"/>
          <ac:spMkLst>
            <pc:docMk/>
            <pc:sldMk cId="2587913709" sldId="295"/>
            <ac:spMk id="6" creationId="{433DE1C8-E3D9-6C87-AC21-15F3B0D858A7}"/>
          </ac:spMkLst>
        </pc:spChg>
        <pc:spChg chg="add mod ord">
          <ac:chgData name="Hans Gelissen (DHL SSC Maastricht)" userId="1afa8510-4eed-4b73-a29e-678838cd8acd" providerId="ADAL" clId="{3BE47AE8-95D9-40E2-AA3D-C68229D0CBC2}" dt="2023-05-01T13:08:46.596" v="342" actId="404"/>
          <ac:spMkLst>
            <pc:docMk/>
            <pc:sldMk cId="2587913709" sldId="295"/>
            <ac:spMk id="7" creationId="{6C5F6990-4AB1-3899-BD8F-FE74A6A4E3CC}"/>
          </ac:spMkLst>
        </pc:spChg>
      </pc:sldChg>
      <pc:sldChg chg="modSp add mod ord">
        <pc:chgData name="Hans Gelissen (DHL SSC Maastricht)" userId="1afa8510-4eed-4b73-a29e-678838cd8acd" providerId="ADAL" clId="{3BE47AE8-95D9-40E2-AA3D-C68229D0CBC2}" dt="2023-05-01T13:05:29.803" v="243"/>
        <pc:sldMkLst>
          <pc:docMk/>
          <pc:sldMk cId="113975652" sldId="296"/>
        </pc:sldMkLst>
        <pc:spChg chg="mod">
          <ac:chgData name="Hans Gelissen (DHL SSC Maastricht)" userId="1afa8510-4eed-4b73-a29e-678838cd8acd" providerId="ADAL" clId="{3BE47AE8-95D9-40E2-AA3D-C68229D0CBC2}" dt="2023-05-01T13:05:16.989" v="241" actId="14100"/>
          <ac:spMkLst>
            <pc:docMk/>
            <pc:sldMk cId="113975652" sldId="296"/>
            <ac:spMk id="8" creationId="{583A2DB6-F77A-117B-97CF-04289A29DEFF}"/>
          </ac:spMkLst>
        </pc:spChg>
      </pc:sldChg>
      <pc:sldChg chg="addSp delSp modSp add mod modClrScheme chgLayout">
        <pc:chgData name="Hans Gelissen (DHL SSC Maastricht)" userId="1afa8510-4eed-4b73-a29e-678838cd8acd" providerId="ADAL" clId="{3BE47AE8-95D9-40E2-AA3D-C68229D0CBC2}" dt="2023-05-01T13:38:27.363" v="1423" actId="732"/>
        <pc:sldMkLst>
          <pc:docMk/>
          <pc:sldMk cId="75204065" sldId="297"/>
        </pc:sldMkLst>
        <pc:spChg chg="del mod ord">
          <ac:chgData name="Hans Gelissen (DHL SSC Maastricht)" userId="1afa8510-4eed-4b73-a29e-678838cd8acd" providerId="ADAL" clId="{3BE47AE8-95D9-40E2-AA3D-C68229D0CBC2}" dt="2023-05-01T13:11:56.712" v="438" actId="700"/>
          <ac:spMkLst>
            <pc:docMk/>
            <pc:sldMk cId="75204065" sldId="297"/>
            <ac:spMk id="2" creationId="{4F270246-E744-77AA-C2E4-31BF5DD24F4E}"/>
          </ac:spMkLst>
        </pc:spChg>
        <pc:spChg chg="del mod ord">
          <ac:chgData name="Hans Gelissen (DHL SSC Maastricht)" userId="1afa8510-4eed-4b73-a29e-678838cd8acd" providerId="ADAL" clId="{3BE47AE8-95D9-40E2-AA3D-C68229D0CBC2}" dt="2023-05-01T13:11:56.712" v="438" actId="700"/>
          <ac:spMkLst>
            <pc:docMk/>
            <pc:sldMk cId="75204065" sldId="297"/>
            <ac:spMk id="3" creationId="{3D3EB578-CE4A-393F-5D11-A9267766A8C5}"/>
          </ac:spMkLst>
        </pc:spChg>
        <pc:spChg chg="add mod ord">
          <ac:chgData name="Hans Gelissen (DHL SSC Maastricht)" userId="1afa8510-4eed-4b73-a29e-678838cd8acd" providerId="ADAL" clId="{3BE47AE8-95D9-40E2-AA3D-C68229D0CBC2}" dt="2023-05-01T13:12:10.915" v="465" actId="20577"/>
          <ac:spMkLst>
            <pc:docMk/>
            <pc:sldMk cId="75204065" sldId="297"/>
            <ac:spMk id="4" creationId="{7F1285ED-C1C5-BD22-9500-FB10D5F39A10}"/>
          </ac:spMkLst>
        </pc:spChg>
        <pc:spChg chg="add del mod ord">
          <ac:chgData name="Hans Gelissen (DHL SSC Maastricht)" userId="1afa8510-4eed-4b73-a29e-678838cd8acd" providerId="ADAL" clId="{3BE47AE8-95D9-40E2-AA3D-C68229D0CBC2}" dt="2023-05-01T13:12:14.503" v="466" actId="478"/>
          <ac:spMkLst>
            <pc:docMk/>
            <pc:sldMk cId="75204065" sldId="297"/>
            <ac:spMk id="5" creationId="{CDBB6869-4BB7-1703-0C05-53DE1A2F20E1}"/>
          </ac:spMkLst>
        </pc:spChg>
        <pc:spChg chg="add mod">
          <ac:chgData name="Hans Gelissen (DHL SSC Maastricht)" userId="1afa8510-4eed-4b73-a29e-678838cd8acd" providerId="ADAL" clId="{3BE47AE8-95D9-40E2-AA3D-C68229D0CBC2}" dt="2023-05-01T13:30:01.183" v="1048" actId="20577"/>
          <ac:spMkLst>
            <pc:docMk/>
            <pc:sldMk cId="75204065" sldId="297"/>
            <ac:spMk id="6" creationId="{4F2386A5-437C-D700-FE77-EDED03A307A0}"/>
          </ac:spMkLst>
        </pc:spChg>
        <pc:spChg chg="add mod">
          <ac:chgData name="Hans Gelissen (DHL SSC Maastricht)" userId="1afa8510-4eed-4b73-a29e-678838cd8acd" providerId="ADAL" clId="{3BE47AE8-95D9-40E2-AA3D-C68229D0CBC2}" dt="2023-05-01T13:30:04.958" v="1058" actId="20577"/>
          <ac:spMkLst>
            <pc:docMk/>
            <pc:sldMk cId="75204065" sldId="297"/>
            <ac:spMk id="7" creationId="{8DA139E9-15A4-94B6-CF16-39E4F22F11C8}"/>
          </ac:spMkLst>
        </pc:spChg>
        <pc:spChg chg="add mod">
          <ac:chgData name="Hans Gelissen (DHL SSC Maastricht)" userId="1afa8510-4eed-4b73-a29e-678838cd8acd" providerId="ADAL" clId="{3BE47AE8-95D9-40E2-AA3D-C68229D0CBC2}" dt="2023-05-01T13:30:08.911" v="1064" actId="20577"/>
          <ac:spMkLst>
            <pc:docMk/>
            <pc:sldMk cId="75204065" sldId="297"/>
            <ac:spMk id="8" creationId="{C3BFE3AA-6915-C3ED-B6BF-0DF61B3BC9CF}"/>
          </ac:spMkLst>
        </pc:spChg>
        <pc:spChg chg="add mod">
          <ac:chgData name="Hans Gelissen (DHL SSC Maastricht)" userId="1afa8510-4eed-4b73-a29e-678838cd8acd" providerId="ADAL" clId="{3BE47AE8-95D9-40E2-AA3D-C68229D0CBC2}" dt="2023-05-01T13:30:49.417" v="1108" actId="20577"/>
          <ac:spMkLst>
            <pc:docMk/>
            <pc:sldMk cId="75204065" sldId="297"/>
            <ac:spMk id="9" creationId="{71BDFB0C-D16E-BBE8-96EF-BE804AB5ED29}"/>
          </ac:spMkLst>
        </pc:spChg>
        <pc:spChg chg="add mod">
          <ac:chgData name="Hans Gelissen (DHL SSC Maastricht)" userId="1afa8510-4eed-4b73-a29e-678838cd8acd" providerId="ADAL" clId="{3BE47AE8-95D9-40E2-AA3D-C68229D0CBC2}" dt="2023-05-01T13:31:01.921" v="1126" actId="20577"/>
          <ac:spMkLst>
            <pc:docMk/>
            <pc:sldMk cId="75204065" sldId="297"/>
            <ac:spMk id="10" creationId="{4BDB3AF6-894F-2996-8A7A-E0233422FC76}"/>
          </ac:spMkLst>
        </pc:spChg>
        <pc:spChg chg="add mod">
          <ac:chgData name="Hans Gelissen (DHL SSC Maastricht)" userId="1afa8510-4eed-4b73-a29e-678838cd8acd" providerId="ADAL" clId="{3BE47AE8-95D9-40E2-AA3D-C68229D0CBC2}" dt="2023-05-01T13:31:06.582" v="1131" actId="20577"/>
          <ac:spMkLst>
            <pc:docMk/>
            <pc:sldMk cId="75204065" sldId="297"/>
            <ac:spMk id="11" creationId="{12C55059-5A11-2DC0-8DDB-3BB5497CF781}"/>
          </ac:spMkLst>
        </pc:spChg>
        <pc:spChg chg="add mod">
          <ac:chgData name="Hans Gelissen (DHL SSC Maastricht)" userId="1afa8510-4eed-4b73-a29e-678838cd8acd" providerId="ADAL" clId="{3BE47AE8-95D9-40E2-AA3D-C68229D0CBC2}" dt="2023-05-01T13:30:12.859" v="1072" actId="20577"/>
          <ac:spMkLst>
            <pc:docMk/>
            <pc:sldMk cId="75204065" sldId="297"/>
            <ac:spMk id="12" creationId="{C591F3B7-AC3B-58FE-7799-0A4F6C4F5043}"/>
          </ac:spMkLst>
        </pc:spChg>
        <pc:spChg chg="add mod">
          <ac:chgData name="Hans Gelissen (DHL SSC Maastricht)" userId="1afa8510-4eed-4b73-a29e-678838cd8acd" providerId="ADAL" clId="{3BE47AE8-95D9-40E2-AA3D-C68229D0CBC2}" dt="2023-05-01T13:30:20.492" v="1091" actId="20577"/>
          <ac:spMkLst>
            <pc:docMk/>
            <pc:sldMk cId="75204065" sldId="297"/>
            <ac:spMk id="13" creationId="{36E7AE9A-9276-24C5-B657-CF936320150A}"/>
          </ac:spMkLst>
        </pc:spChg>
        <pc:spChg chg="add mod">
          <ac:chgData name="Hans Gelissen (DHL SSC Maastricht)" userId="1afa8510-4eed-4b73-a29e-678838cd8acd" providerId="ADAL" clId="{3BE47AE8-95D9-40E2-AA3D-C68229D0CBC2}" dt="2023-05-01T13:31:12.937" v="1139" actId="20577"/>
          <ac:spMkLst>
            <pc:docMk/>
            <pc:sldMk cId="75204065" sldId="297"/>
            <ac:spMk id="14" creationId="{E231164D-0874-004F-8925-FB4ED5D690F1}"/>
          </ac:spMkLst>
        </pc:spChg>
        <pc:spChg chg="add mod">
          <ac:chgData name="Hans Gelissen (DHL SSC Maastricht)" userId="1afa8510-4eed-4b73-a29e-678838cd8acd" providerId="ADAL" clId="{3BE47AE8-95D9-40E2-AA3D-C68229D0CBC2}" dt="2023-05-01T13:31:20.425" v="1155" actId="20577"/>
          <ac:spMkLst>
            <pc:docMk/>
            <pc:sldMk cId="75204065" sldId="297"/>
            <ac:spMk id="15" creationId="{EC01D728-E21F-F227-161C-6515B90E1B6D}"/>
          </ac:spMkLst>
        </pc:spChg>
        <pc:spChg chg="add mod">
          <ac:chgData name="Hans Gelissen (DHL SSC Maastricht)" userId="1afa8510-4eed-4b73-a29e-678838cd8acd" providerId="ADAL" clId="{3BE47AE8-95D9-40E2-AA3D-C68229D0CBC2}" dt="2023-05-01T13:31:25.733" v="1162" actId="20577"/>
          <ac:spMkLst>
            <pc:docMk/>
            <pc:sldMk cId="75204065" sldId="297"/>
            <ac:spMk id="16" creationId="{FE5BC2C5-FA3E-792A-6F02-178CB6B1D545}"/>
          </ac:spMkLst>
        </pc:spChg>
        <pc:spChg chg="add mod">
          <ac:chgData name="Hans Gelissen (DHL SSC Maastricht)" userId="1afa8510-4eed-4b73-a29e-678838cd8acd" providerId="ADAL" clId="{3BE47AE8-95D9-40E2-AA3D-C68229D0CBC2}" dt="2023-05-01T13:31:35.373" v="1187" actId="20577"/>
          <ac:spMkLst>
            <pc:docMk/>
            <pc:sldMk cId="75204065" sldId="297"/>
            <ac:spMk id="17" creationId="{E1355D39-3E84-E102-EA11-FCC04ED43074}"/>
          </ac:spMkLst>
        </pc:spChg>
        <pc:spChg chg="add mod">
          <ac:chgData name="Hans Gelissen (DHL SSC Maastricht)" userId="1afa8510-4eed-4b73-a29e-678838cd8acd" providerId="ADAL" clId="{3BE47AE8-95D9-40E2-AA3D-C68229D0CBC2}" dt="2023-05-01T13:31:42.187" v="1197" actId="20577"/>
          <ac:spMkLst>
            <pc:docMk/>
            <pc:sldMk cId="75204065" sldId="297"/>
            <ac:spMk id="18" creationId="{9814B38E-720F-7599-CE97-34EEF8A35402}"/>
          </ac:spMkLst>
        </pc:spChg>
        <pc:spChg chg="add mod">
          <ac:chgData name="Hans Gelissen (DHL SSC Maastricht)" userId="1afa8510-4eed-4b73-a29e-678838cd8acd" providerId="ADAL" clId="{3BE47AE8-95D9-40E2-AA3D-C68229D0CBC2}" dt="2023-05-01T13:31:51.454" v="1205" actId="20577"/>
          <ac:spMkLst>
            <pc:docMk/>
            <pc:sldMk cId="75204065" sldId="297"/>
            <ac:spMk id="19" creationId="{3C79A474-09C1-87FD-CE02-0BE97E639DD2}"/>
          </ac:spMkLst>
        </pc:spChg>
        <pc:spChg chg="add mod">
          <ac:chgData name="Hans Gelissen (DHL SSC Maastricht)" userId="1afa8510-4eed-4b73-a29e-678838cd8acd" providerId="ADAL" clId="{3BE47AE8-95D9-40E2-AA3D-C68229D0CBC2}" dt="2023-05-01T13:32:03.871" v="1216" actId="20577"/>
          <ac:spMkLst>
            <pc:docMk/>
            <pc:sldMk cId="75204065" sldId="297"/>
            <ac:spMk id="20" creationId="{4E6B0195-D1A9-4FA8-9361-2135D11D7C88}"/>
          </ac:spMkLst>
        </pc:spChg>
        <pc:picChg chg="add mod">
          <ac:chgData name="Hans Gelissen (DHL SSC Maastricht)" userId="1afa8510-4eed-4b73-a29e-678838cd8acd" providerId="ADAL" clId="{3BE47AE8-95D9-40E2-AA3D-C68229D0CBC2}" dt="2023-05-01T13:38:27.363" v="1423" actId="732"/>
          <ac:picMkLst>
            <pc:docMk/>
            <pc:sldMk cId="75204065" sldId="297"/>
            <ac:picMk id="21" creationId="{A7B3F6DB-BFA1-1EC0-92AB-FF8D8A6DE182}"/>
          </ac:picMkLst>
        </pc:picChg>
      </pc:sldChg>
      <pc:sldChg chg="addSp delSp modSp add mod ord modClrScheme chgLayout">
        <pc:chgData name="Hans Gelissen (DHL SSC Maastricht)" userId="1afa8510-4eed-4b73-a29e-678838cd8acd" providerId="ADAL" clId="{3BE47AE8-95D9-40E2-AA3D-C68229D0CBC2}" dt="2023-05-01T13:13:34.817" v="509" actId="1076"/>
        <pc:sldMkLst>
          <pc:docMk/>
          <pc:sldMk cId="36555485" sldId="298"/>
        </pc:sldMkLst>
        <pc:spChg chg="del mod ord">
          <ac:chgData name="Hans Gelissen (DHL SSC Maastricht)" userId="1afa8510-4eed-4b73-a29e-678838cd8acd" providerId="ADAL" clId="{3BE47AE8-95D9-40E2-AA3D-C68229D0CBC2}" dt="2023-05-01T13:12:45.858" v="478" actId="700"/>
          <ac:spMkLst>
            <pc:docMk/>
            <pc:sldMk cId="36555485" sldId="298"/>
            <ac:spMk id="2" creationId="{4F270246-E744-77AA-C2E4-31BF5DD24F4E}"/>
          </ac:spMkLst>
        </pc:spChg>
        <pc:spChg chg="del mod ord">
          <ac:chgData name="Hans Gelissen (DHL SSC Maastricht)" userId="1afa8510-4eed-4b73-a29e-678838cd8acd" providerId="ADAL" clId="{3BE47AE8-95D9-40E2-AA3D-C68229D0CBC2}" dt="2023-05-01T13:12:45.858" v="478" actId="700"/>
          <ac:spMkLst>
            <pc:docMk/>
            <pc:sldMk cId="36555485" sldId="298"/>
            <ac:spMk id="3" creationId="{3D3EB578-CE4A-393F-5D11-A9267766A8C5}"/>
          </ac:spMkLst>
        </pc:spChg>
        <pc:spChg chg="add mod ord">
          <ac:chgData name="Hans Gelissen (DHL SSC Maastricht)" userId="1afa8510-4eed-4b73-a29e-678838cd8acd" providerId="ADAL" clId="{3BE47AE8-95D9-40E2-AA3D-C68229D0CBC2}" dt="2023-05-01T13:13:04.240" v="502" actId="20577"/>
          <ac:spMkLst>
            <pc:docMk/>
            <pc:sldMk cId="36555485" sldId="298"/>
            <ac:spMk id="4" creationId="{CD04628E-42CE-0FC7-E5EB-9D03FD77AB3E}"/>
          </ac:spMkLst>
        </pc:spChg>
        <pc:spChg chg="add mod ord">
          <ac:chgData name="Hans Gelissen (DHL SSC Maastricht)" userId="1afa8510-4eed-4b73-a29e-678838cd8acd" providerId="ADAL" clId="{3BE47AE8-95D9-40E2-AA3D-C68229D0CBC2}" dt="2023-05-01T13:13:34.817" v="509" actId="1076"/>
          <ac:spMkLst>
            <pc:docMk/>
            <pc:sldMk cId="36555485" sldId="298"/>
            <ac:spMk id="5" creationId="{7B832A12-736A-03B0-77FC-37283DCDB9B3}"/>
          </ac:spMkLst>
        </pc:spChg>
      </pc:sldChg>
      <pc:sldChg chg="addSp delSp modSp add mod ord modClrScheme chgLayout">
        <pc:chgData name="Hans Gelissen (DHL SSC Maastricht)" userId="1afa8510-4eed-4b73-a29e-678838cd8acd" providerId="ADAL" clId="{3BE47AE8-95D9-40E2-AA3D-C68229D0CBC2}" dt="2023-05-01T14:12:21.879" v="2441" actId="1035"/>
        <pc:sldMkLst>
          <pc:docMk/>
          <pc:sldMk cId="2518726371" sldId="299"/>
        </pc:sldMkLst>
        <pc:spChg chg="mod ord">
          <ac:chgData name="Hans Gelissen (DHL SSC Maastricht)" userId="1afa8510-4eed-4b73-a29e-678838cd8acd" providerId="ADAL" clId="{3BE47AE8-95D9-40E2-AA3D-C68229D0CBC2}" dt="2023-05-01T13:14:37.696" v="558" actId="700"/>
          <ac:spMkLst>
            <pc:docMk/>
            <pc:sldMk cId="2518726371" sldId="299"/>
            <ac:spMk id="2" creationId="{4F270246-E744-77AA-C2E4-31BF5DD24F4E}"/>
          </ac:spMkLst>
        </pc:spChg>
        <pc:spChg chg="del">
          <ac:chgData name="Hans Gelissen (DHL SSC Maastricht)" userId="1afa8510-4eed-4b73-a29e-678838cd8acd" providerId="ADAL" clId="{3BE47AE8-95D9-40E2-AA3D-C68229D0CBC2}" dt="2023-05-01T13:14:28.535" v="557" actId="478"/>
          <ac:spMkLst>
            <pc:docMk/>
            <pc:sldMk cId="2518726371" sldId="299"/>
            <ac:spMk id="3" creationId="{3D3EB578-CE4A-393F-5D11-A9267766A8C5}"/>
          </ac:spMkLst>
        </pc:spChg>
        <pc:spChg chg="add mod ord">
          <ac:chgData name="Hans Gelissen (DHL SSC Maastricht)" userId="1afa8510-4eed-4b73-a29e-678838cd8acd" providerId="ADAL" clId="{3BE47AE8-95D9-40E2-AA3D-C68229D0CBC2}" dt="2023-05-01T14:12:21.879" v="2441" actId="1035"/>
          <ac:spMkLst>
            <pc:docMk/>
            <pc:sldMk cId="2518726371" sldId="299"/>
            <ac:spMk id="4" creationId="{33840FA5-6A4A-12D2-0D65-1436965343D3}"/>
          </ac:spMkLst>
        </pc:spChg>
        <pc:picChg chg="add del">
          <ac:chgData name="Hans Gelissen (DHL SSC Maastricht)" userId="1afa8510-4eed-4b73-a29e-678838cd8acd" providerId="ADAL" clId="{3BE47AE8-95D9-40E2-AA3D-C68229D0CBC2}" dt="2023-05-01T13:15:02.442" v="560"/>
          <ac:picMkLst>
            <pc:docMk/>
            <pc:sldMk cId="2518726371" sldId="299"/>
            <ac:picMk id="5" creationId="{2E3FD1A5-637C-3232-E766-F8223B283B2C}"/>
          </ac:picMkLst>
        </pc:picChg>
      </pc:sldChg>
      <pc:sldChg chg="delSp add mod modClrScheme chgLayout">
        <pc:chgData name="Hans Gelissen (DHL SSC Maastricht)" userId="1afa8510-4eed-4b73-a29e-678838cd8acd" providerId="ADAL" clId="{3BE47AE8-95D9-40E2-AA3D-C68229D0CBC2}" dt="2023-05-01T13:29:38.392" v="1037" actId="700"/>
        <pc:sldMkLst>
          <pc:docMk/>
          <pc:sldMk cId="1816306719" sldId="300"/>
        </pc:sldMkLst>
        <pc:spChg chg="del">
          <ac:chgData name="Hans Gelissen (DHL SSC Maastricht)" userId="1afa8510-4eed-4b73-a29e-678838cd8acd" providerId="ADAL" clId="{3BE47AE8-95D9-40E2-AA3D-C68229D0CBC2}" dt="2023-05-01T13:29:38.392" v="1037" actId="700"/>
          <ac:spMkLst>
            <pc:docMk/>
            <pc:sldMk cId="1816306719" sldId="300"/>
            <ac:spMk id="2" creationId="{4F270246-E744-77AA-C2E4-31BF5DD24F4E}"/>
          </ac:spMkLst>
        </pc:spChg>
        <pc:spChg chg="del">
          <ac:chgData name="Hans Gelissen (DHL SSC Maastricht)" userId="1afa8510-4eed-4b73-a29e-678838cd8acd" providerId="ADAL" clId="{3BE47AE8-95D9-40E2-AA3D-C68229D0CBC2}" dt="2023-05-01T13:29:38.392" v="1037" actId="700"/>
          <ac:spMkLst>
            <pc:docMk/>
            <pc:sldMk cId="1816306719" sldId="300"/>
            <ac:spMk id="3" creationId="{3D3EB578-CE4A-393F-5D11-A9267766A8C5}"/>
          </ac:spMkLst>
        </pc:spChg>
      </pc:sldChg>
      <pc:sldChg chg="addSp delSp modSp add mod">
        <pc:chgData name="Hans Gelissen (DHL SSC Maastricht)" userId="1afa8510-4eed-4b73-a29e-678838cd8acd" providerId="ADAL" clId="{3BE47AE8-95D9-40E2-AA3D-C68229D0CBC2}" dt="2023-05-01T13:38:20.195" v="1422" actId="732"/>
        <pc:sldMkLst>
          <pc:docMk/>
          <pc:sldMk cId="2569246789" sldId="301"/>
        </pc:sldMkLst>
        <pc:spChg chg="add mod">
          <ac:chgData name="Hans Gelissen (DHL SSC Maastricht)" userId="1afa8510-4eed-4b73-a29e-678838cd8acd" providerId="ADAL" clId="{3BE47AE8-95D9-40E2-AA3D-C68229D0CBC2}" dt="2023-05-01T13:32:22.150" v="1224" actId="20577"/>
          <ac:spMkLst>
            <pc:docMk/>
            <pc:sldMk cId="2569246789" sldId="301"/>
            <ac:spMk id="2" creationId="{A7778CA4-38FE-0855-1E8D-977A7B6F381B}"/>
          </ac:spMkLst>
        </pc:spChg>
        <pc:spChg chg="add mod">
          <ac:chgData name="Hans Gelissen (DHL SSC Maastricht)" userId="1afa8510-4eed-4b73-a29e-678838cd8acd" providerId="ADAL" clId="{3BE47AE8-95D9-40E2-AA3D-C68229D0CBC2}" dt="2023-05-01T13:32:27.002" v="1235" actId="20577"/>
          <ac:spMkLst>
            <pc:docMk/>
            <pc:sldMk cId="2569246789" sldId="301"/>
            <ac:spMk id="3" creationId="{9CB60842-8CE4-8924-0027-1BB8AF7BD9BD}"/>
          </ac:spMkLst>
        </pc:spChg>
        <pc:spChg chg="mod">
          <ac:chgData name="Hans Gelissen (DHL SSC Maastricht)" userId="1afa8510-4eed-4b73-a29e-678838cd8acd" providerId="ADAL" clId="{3BE47AE8-95D9-40E2-AA3D-C68229D0CBC2}" dt="2023-05-01T13:12:33.788" v="477" actId="20577"/>
          <ac:spMkLst>
            <pc:docMk/>
            <pc:sldMk cId="2569246789" sldId="301"/>
            <ac:spMk id="4" creationId="{7F1285ED-C1C5-BD22-9500-FB10D5F39A10}"/>
          </ac:spMkLst>
        </pc:spChg>
        <pc:spChg chg="add mod">
          <ac:chgData name="Hans Gelissen (DHL SSC Maastricht)" userId="1afa8510-4eed-4b73-a29e-678838cd8acd" providerId="ADAL" clId="{3BE47AE8-95D9-40E2-AA3D-C68229D0CBC2}" dt="2023-05-01T13:32:31.034" v="1247" actId="20577"/>
          <ac:spMkLst>
            <pc:docMk/>
            <pc:sldMk cId="2569246789" sldId="301"/>
            <ac:spMk id="5" creationId="{E538A01E-091D-633F-0C3B-34CAA182898E}"/>
          </ac:spMkLst>
        </pc:spChg>
        <pc:spChg chg="add mod">
          <ac:chgData name="Hans Gelissen (DHL SSC Maastricht)" userId="1afa8510-4eed-4b73-a29e-678838cd8acd" providerId="ADAL" clId="{3BE47AE8-95D9-40E2-AA3D-C68229D0CBC2}" dt="2023-05-01T13:32:49.337" v="1289" actId="20577"/>
          <ac:spMkLst>
            <pc:docMk/>
            <pc:sldMk cId="2569246789" sldId="301"/>
            <ac:spMk id="6" creationId="{46D199D0-5B72-D40B-CBD3-538BAB4AD6BF}"/>
          </ac:spMkLst>
        </pc:spChg>
        <pc:spChg chg="add mod">
          <ac:chgData name="Hans Gelissen (DHL SSC Maastricht)" userId="1afa8510-4eed-4b73-a29e-678838cd8acd" providerId="ADAL" clId="{3BE47AE8-95D9-40E2-AA3D-C68229D0CBC2}" dt="2023-05-01T13:32:53.285" v="1294" actId="20577"/>
          <ac:spMkLst>
            <pc:docMk/>
            <pc:sldMk cId="2569246789" sldId="301"/>
            <ac:spMk id="7" creationId="{FFB00163-E619-A036-5FE6-8FCFDBEFDE8A}"/>
          </ac:spMkLst>
        </pc:spChg>
        <pc:spChg chg="add mod">
          <ac:chgData name="Hans Gelissen (DHL SSC Maastricht)" userId="1afa8510-4eed-4b73-a29e-678838cd8acd" providerId="ADAL" clId="{3BE47AE8-95D9-40E2-AA3D-C68229D0CBC2}" dt="2023-05-01T13:32:59.581" v="1306" actId="20577"/>
          <ac:spMkLst>
            <pc:docMk/>
            <pc:sldMk cId="2569246789" sldId="301"/>
            <ac:spMk id="8" creationId="{2B6EC284-A324-1CF1-1F05-C8CC02A6DED7}"/>
          </ac:spMkLst>
        </pc:spChg>
        <pc:spChg chg="add mod">
          <ac:chgData name="Hans Gelissen (DHL SSC Maastricht)" userId="1afa8510-4eed-4b73-a29e-678838cd8acd" providerId="ADAL" clId="{3BE47AE8-95D9-40E2-AA3D-C68229D0CBC2}" dt="2023-05-01T13:32:35.167" v="1257" actId="20577"/>
          <ac:spMkLst>
            <pc:docMk/>
            <pc:sldMk cId="2569246789" sldId="301"/>
            <ac:spMk id="9" creationId="{BACDA581-7CC5-5796-42A0-721B610C2EEA}"/>
          </ac:spMkLst>
        </pc:spChg>
        <pc:spChg chg="add mod">
          <ac:chgData name="Hans Gelissen (DHL SSC Maastricht)" userId="1afa8510-4eed-4b73-a29e-678838cd8acd" providerId="ADAL" clId="{3BE47AE8-95D9-40E2-AA3D-C68229D0CBC2}" dt="2023-05-01T13:32:40.587" v="1267" actId="20577"/>
          <ac:spMkLst>
            <pc:docMk/>
            <pc:sldMk cId="2569246789" sldId="301"/>
            <ac:spMk id="10" creationId="{EE31BB24-7063-731C-9299-90FDC3002598}"/>
          </ac:spMkLst>
        </pc:spChg>
        <pc:spChg chg="add mod">
          <ac:chgData name="Hans Gelissen (DHL SSC Maastricht)" userId="1afa8510-4eed-4b73-a29e-678838cd8acd" providerId="ADAL" clId="{3BE47AE8-95D9-40E2-AA3D-C68229D0CBC2}" dt="2023-05-01T13:33:46.380" v="1351" actId="20577"/>
          <ac:spMkLst>
            <pc:docMk/>
            <pc:sldMk cId="2569246789" sldId="301"/>
            <ac:spMk id="11" creationId="{F0C21132-BF97-54D9-0503-F75FAD41C380}"/>
          </ac:spMkLst>
        </pc:spChg>
        <pc:spChg chg="add mod">
          <ac:chgData name="Hans Gelissen (DHL SSC Maastricht)" userId="1afa8510-4eed-4b73-a29e-678838cd8acd" providerId="ADAL" clId="{3BE47AE8-95D9-40E2-AA3D-C68229D0CBC2}" dt="2023-05-01T13:33:24.638" v="1333" actId="20577"/>
          <ac:spMkLst>
            <pc:docMk/>
            <pc:sldMk cId="2569246789" sldId="301"/>
            <ac:spMk id="12" creationId="{69299F3E-AA5B-B0B9-2520-9F5AEF7DA965}"/>
          </ac:spMkLst>
        </pc:spChg>
        <pc:spChg chg="add mod">
          <ac:chgData name="Hans Gelissen (DHL SSC Maastricht)" userId="1afa8510-4eed-4b73-a29e-678838cd8acd" providerId="ADAL" clId="{3BE47AE8-95D9-40E2-AA3D-C68229D0CBC2}" dt="2023-05-01T13:33:31.647" v="1341" actId="20577"/>
          <ac:spMkLst>
            <pc:docMk/>
            <pc:sldMk cId="2569246789" sldId="301"/>
            <ac:spMk id="13" creationId="{11BE6A33-AA53-DC8F-92BE-6DE179A98828}"/>
          </ac:spMkLst>
        </pc:spChg>
        <pc:spChg chg="add mod">
          <ac:chgData name="Hans Gelissen (DHL SSC Maastricht)" userId="1afa8510-4eed-4b73-a29e-678838cd8acd" providerId="ADAL" clId="{3BE47AE8-95D9-40E2-AA3D-C68229D0CBC2}" dt="2023-05-01T13:33:38.340" v="1349" actId="20577"/>
          <ac:spMkLst>
            <pc:docMk/>
            <pc:sldMk cId="2569246789" sldId="301"/>
            <ac:spMk id="14" creationId="{904E44FE-BFAB-384A-07A6-AE037BCBEEF8}"/>
          </ac:spMkLst>
        </pc:spChg>
        <pc:spChg chg="add mod">
          <ac:chgData name="Hans Gelissen (DHL SSC Maastricht)" userId="1afa8510-4eed-4b73-a29e-678838cd8acd" providerId="ADAL" clId="{3BE47AE8-95D9-40E2-AA3D-C68229D0CBC2}" dt="2023-05-01T13:33:54.229" v="1362" actId="20577"/>
          <ac:spMkLst>
            <pc:docMk/>
            <pc:sldMk cId="2569246789" sldId="301"/>
            <ac:spMk id="15" creationId="{A5EC64A9-1D96-EB9A-4CDF-CBA6438C5673}"/>
          </ac:spMkLst>
        </pc:spChg>
        <pc:spChg chg="add mod">
          <ac:chgData name="Hans Gelissen (DHL SSC Maastricht)" userId="1afa8510-4eed-4b73-a29e-678838cd8acd" providerId="ADAL" clId="{3BE47AE8-95D9-40E2-AA3D-C68229D0CBC2}" dt="2023-05-01T13:34:07.122" v="1368" actId="20577"/>
          <ac:spMkLst>
            <pc:docMk/>
            <pc:sldMk cId="2569246789" sldId="301"/>
            <ac:spMk id="16" creationId="{67923B3D-6C55-A0AD-7757-DE83738663C2}"/>
          </ac:spMkLst>
        </pc:spChg>
        <pc:spChg chg="add mod">
          <ac:chgData name="Hans Gelissen (DHL SSC Maastricht)" userId="1afa8510-4eed-4b73-a29e-678838cd8acd" providerId="ADAL" clId="{3BE47AE8-95D9-40E2-AA3D-C68229D0CBC2}" dt="2023-05-01T13:34:16.057" v="1381" actId="20577"/>
          <ac:spMkLst>
            <pc:docMk/>
            <pc:sldMk cId="2569246789" sldId="301"/>
            <ac:spMk id="17" creationId="{4FB19EAB-96CB-D78F-DAEE-3D7AAF3E678E}"/>
          </ac:spMkLst>
        </pc:spChg>
        <pc:picChg chg="add del mod">
          <ac:chgData name="Hans Gelissen (DHL SSC Maastricht)" userId="1afa8510-4eed-4b73-a29e-678838cd8acd" providerId="ADAL" clId="{3BE47AE8-95D9-40E2-AA3D-C68229D0CBC2}" dt="2023-05-01T13:37:17.133" v="1407" actId="478"/>
          <ac:picMkLst>
            <pc:docMk/>
            <pc:sldMk cId="2569246789" sldId="301"/>
            <ac:picMk id="2050" creationId="{B4792D58-8395-F7D5-12BA-E7A376EA3F6E}"/>
          </ac:picMkLst>
        </pc:picChg>
        <pc:picChg chg="add mod">
          <ac:chgData name="Hans Gelissen (DHL SSC Maastricht)" userId="1afa8510-4eed-4b73-a29e-678838cd8acd" providerId="ADAL" clId="{3BE47AE8-95D9-40E2-AA3D-C68229D0CBC2}" dt="2023-05-01T13:38:20.195" v="1422" actId="732"/>
          <ac:picMkLst>
            <pc:docMk/>
            <pc:sldMk cId="2569246789" sldId="301"/>
            <ac:picMk id="2052" creationId="{2898EA10-C7AF-343E-52CF-A234C2E84289}"/>
          </ac:picMkLst>
        </pc:picChg>
        <pc:picChg chg="add del mod">
          <ac:chgData name="Hans Gelissen (DHL SSC Maastricht)" userId="1afa8510-4eed-4b73-a29e-678838cd8acd" providerId="ADAL" clId="{3BE47AE8-95D9-40E2-AA3D-C68229D0CBC2}" dt="2023-05-01T13:37:32.459" v="1417" actId="21"/>
          <ac:picMkLst>
            <pc:docMk/>
            <pc:sldMk cId="2569246789" sldId="301"/>
            <ac:picMk id="2054" creationId="{EFBA5FC5-7C4E-E5A7-12EA-B42A7A53D494}"/>
          </ac:picMkLst>
        </pc:picChg>
      </pc:sldChg>
      <pc:sldChg chg="addSp delSp modSp add mod modClrScheme chgLayout">
        <pc:chgData name="Hans Gelissen (DHL SSC Maastricht)" userId="1afa8510-4eed-4b73-a29e-678838cd8acd" providerId="ADAL" clId="{3BE47AE8-95D9-40E2-AA3D-C68229D0CBC2}" dt="2023-05-01T13:38:59.399" v="1425" actId="478"/>
        <pc:sldMkLst>
          <pc:docMk/>
          <pc:sldMk cId="2418611898" sldId="302"/>
        </pc:sldMkLst>
        <pc:spChg chg="add mod">
          <ac:chgData name="Hans Gelissen (DHL SSC Maastricht)" userId="1afa8510-4eed-4b73-a29e-678838cd8acd" providerId="ADAL" clId="{3BE47AE8-95D9-40E2-AA3D-C68229D0CBC2}" dt="2023-05-01T13:28:03.552" v="1032" actId="207"/>
          <ac:spMkLst>
            <pc:docMk/>
            <pc:sldMk cId="2418611898" sldId="302"/>
            <ac:spMk id="2" creationId="{96261B49-D762-41C6-AE81-F526A84F37C3}"/>
          </ac:spMkLst>
        </pc:spChg>
        <pc:spChg chg="add mod">
          <ac:chgData name="Hans Gelissen (DHL SSC Maastricht)" userId="1afa8510-4eed-4b73-a29e-678838cd8acd" providerId="ADAL" clId="{3BE47AE8-95D9-40E2-AA3D-C68229D0CBC2}" dt="2023-05-01T13:28:03.552" v="1032" actId="207"/>
          <ac:spMkLst>
            <pc:docMk/>
            <pc:sldMk cId="2418611898" sldId="302"/>
            <ac:spMk id="3" creationId="{2FE11B4E-CACD-88E9-7861-199EE13E389E}"/>
          </ac:spMkLst>
        </pc:spChg>
        <pc:spChg chg="mod ord">
          <ac:chgData name="Hans Gelissen (DHL SSC Maastricht)" userId="1afa8510-4eed-4b73-a29e-678838cd8acd" providerId="ADAL" clId="{3BE47AE8-95D9-40E2-AA3D-C68229D0CBC2}" dt="2023-05-01T13:38:50.434" v="1424" actId="700"/>
          <ac:spMkLst>
            <pc:docMk/>
            <pc:sldMk cId="2418611898" sldId="302"/>
            <ac:spMk id="4" creationId="{7F1285ED-C1C5-BD22-9500-FB10D5F39A10}"/>
          </ac:spMkLst>
        </pc:spChg>
        <pc:spChg chg="add mod">
          <ac:chgData name="Hans Gelissen (DHL SSC Maastricht)" userId="1afa8510-4eed-4b73-a29e-678838cd8acd" providerId="ADAL" clId="{3BE47AE8-95D9-40E2-AA3D-C68229D0CBC2}" dt="2023-05-01T13:28:03.552" v="1032" actId="207"/>
          <ac:spMkLst>
            <pc:docMk/>
            <pc:sldMk cId="2418611898" sldId="302"/>
            <ac:spMk id="5" creationId="{B3848A0D-B64E-AB82-D33A-3D3FF796E6EB}"/>
          </ac:spMkLst>
        </pc:spChg>
        <pc:spChg chg="add mod">
          <ac:chgData name="Hans Gelissen (DHL SSC Maastricht)" userId="1afa8510-4eed-4b73-a29e-678838cd8acd" providerId="ADAL" clId="{3BE47AE8-95D9-40E2-AA3D-C68229D0CBC2}" dt="2023-05-01T13:28:03.552" v="1032" actId="207"/>
          <ac:spMkLst>
            <pc:docMk/>
            <pc:sldMk cId="2418611898" sldId="302"/>
            <ac:spMk id="6" creationId="{F1752C1A-CC09-5AB5-6F95-B5AE9634DF65}"/>
          </ac:spMkLst>
        </pc:spChg>
        <pc:spChg chg="add mod">
          <ac:chgData name="Hans Gelissen (DHL SSC Maastricht)" userId="1afa8510-4eed-4b73-a29e-678838cd8acd" providerId="ADAL" clId="{3BE47AE8-95D9-40E2-AA3D-C68229D0CBC2}" dt="2023-05-01T13:28:03.552" v="1032" actId="207"/>
          <ac:spMkLst>
            <pc:docMk/>
            <pc:sldMk cId="2418611898" sldId="302"/>
            <ac:spMk id="7" creationId="{B455477B-85EA-A04B-B730-3E2FAAD04AC8}"/>
          </ac:spMkLst>
        </pc:spChg>
        <pc:spChg chg="add mod">
          <ac:chgData name="Hans Gelissen (DHL SSC Maastricht)" userId="1afa8510-4eed-4b73-a29e-678838cd8acd" providerId="ADAL" clId="{3BE47AE8-95D9-40E2-AA3D-C68229D0CBC2}" dt="2023-05-01T13:28:03.552" v="1032" actId="207"/>
          <ac:spMkLst>
            <pc:docMk/>
            <pc:sldMk cId="2418611898" sldId="302"/>
            <ac:spMk id="8" creationId="{1FF748BD-5ADC-30D2-D4B6-8CF7F7911274}"/>
          </ac:spMkLst>
        </pc:spChg>
        <pc:spChg chg="add mod">
          <ac:chgData name="Hans Gelissen (DHL SSC Maastricht)" userId="1afa8510-4eed-4b73-a29e-678838cd8acd" providerId="ADAL" clId="{3BE47AE8-95D9-40E2-AA3D-C68229D0CBC2}" dt="2023-05-01T13:28:03.552" v="1032" actId="207"/>
          <ac:spMkLst>
            <pc:docMk/>
            <pc:sldMk cId="2418611898" sldId="302"/>
            <ac:spMk id="9" creationId="{9D9F8AD2-5267-3943-5724-C1FC79C2CAA2}"/>
          </ac:spMkLst>
        </pc:spChg>
        <pc:spChg chg="add mod">
          <ac:chgData name="Hans Gelissen (DHL SSC Maastricht)" userId="1afa8510-4eed-4b73-a29e-678838cd8acd" providerId="ADAL" clId="{3BE47AE8-95D9-40E2-AA3D-C68229D0CBC2}" dt="2023-05-01T13:28:03.552" v="1032" actId="207"/>
          <ac:spMkLst>
            <pc:docMk/>
            <pc:sldMk cId="2418611898" sldId="302"/>
            <ac:spMk id="10" creationId="{CFA8802B-FB09-419D-8D0D-5A6D36E789E6}"/>
          </ac:spMkLst>
        </pc:spChg>
        <pc:spChg chg="add mod">
          <ac:chgData name="Hans Gelissen (DHL SSC Maastricht)" userId="1afa8510-4eed-4b73-a29e-678838cd8acd" providerId="ADAL" clId="{3BE47AE8-95D9-40E2-AA3D-C68229D0CBC2}" dt="2023-05-01T13:28:03.552" v="1032" actId="207"/>
          <ac:spMkLst>
            <pc:docMk/>
            <pc:sldMk cId="2418611898" sldId="302"/>
            <ac:spMk id="11" creationId="{623C5747-F911-2DAF-39F6-51D7C333CA8C}"/>
          </ac:spMkLst>
        </pc:spChg>
        <pc:spChg chg="add mod">
          <ac:chgData name="Hans Gelissen (DHL SSC Maastricht)" userId="1afa8510-4eed-4b73-a29e-678838cd8acd" providerId="ADAL" clId="{3BE47AE8-95D9-40E2-AA3D-C68229D0CBC2}" dt="2023-05-01T13:28:03.552" v="1032" actId="207"/>
          <ac:spMkLst>
            <pc:docMk/>
            <pc:sldMk cId="2418611898" sldId="302"/>
            <ac:spMk id="12" creationId="{B98E0858-DC86-83EC-5D46-650BAB0864BD}"/>
          </ac:spMkLst>
        </pc:spChg>
        <pc:spChg chg="add del mod">
          <ac:chgData name="Hans Gelissen (DHL SSC Maastricht)" userId="1afa8510-4eed-4b73-a29e-678838cd8acd" providerId="ADAL" clId="{3BE47AE8-95D9-40E2-AA3D-C68229D0CBC2}" dt="2023-05-01T13:23:43.654" v="904" actId="478"/>
          <ac:spMkLst>
            <pc:docMk/>
            <pc:sldMk cId="2418611898" sldId="302"/>
            <ac:spMk id="13" creationId="{E1666515-1097-A7DB-E183-3D02FF6ABA8C}"/>
          </ac:spMkLst>
        </pc:spChg>
        <pc:spChg chg="add mod">
          <ac:chgData name="Hans Gelissen (DHL SSC Maastricht)" userId="1afa8510-4eed-4b73-a29e-678838cd8acd" providerId="ADAL" clId="{3BE47AE8-95D9-40E2-AA3D-C68229D0CBC2}" dt="2023-05-01T13:28:03.552" v="1032" actId="207"/>
          <ac:spMkLst>
            <pc:docMk/>
            <pc:sldMk cId="2418611898" sldId="302"/>
            <ac:spMk id="14" creationId="{ED511364-F144-FA9B-9692-FDDDC096FD4E}"/>
          </ac:spMkLst>
        </pc:spChg>
        <pc:spChg chg="add mod">
          <ac:chgData name="Hans Gelissen (DHL SSC Maastricht)" userId="1afa8510-4eed-4b73-a29e-678838cd8acd" providerId="ADAL" clId="{3BE47AE8-95D9-40E2-AA3D-C68229D0CBC2}" dt="2023-05-01T13:28:03.552" v="1032" actId="207"/>
          <ac:spMkLst>
            <pc:docMk/>
            <pc:sldMk cId="2418611898" sldId="302"/>
            <ac:spMk id="15" creationId="{096F72ED-B4C8-E1F7-A89D-784D1F74E513}"/>
          </ac:spMkLst>
        </pc:spChg>
        <pc:spChg chg="add mod">
          <ac:chgData name="Hans Gelissen (DHL SSC Maastricht)" userId="1afa8510-4eed-4b73-a29e-678838cd8acd" providerId="ADAL" clId="{3BE47AE8-95D9-40E2-AA3D-C68229D0CBC2}" dt="2023-05-01T13:28:03.552" v="1032" actId="207"/>
          <ac:spMkLst>
            <pc:docMk/>
            <pc:sldMk cId="2418611898" sldId="302"/>
            <ac:spMk id="16" creationId="{169D93A1-5CD9-5B13-1D9A-606219F1EC30}"/>
          </ac:spMkLst>
        </pc:spChg>
        <pc:spChg chg="add mod">
          <ac:chgData name="Hans Gelissen (DHL SSC Maastricht)" userId="1afa8510-4eed-4b73-a29e-678838cd8acd" providerId="ADAL" clId="{3BE47AE8-95D9-40E2-AA3D-C68229D0CBC2}" dt="2023-05-01T13:24:32.732" v="948" actId="571"/>
          <ac:spMkLst>
            <pc:docMk/>
            <pc:sldMk cId="2418611898" sldId="302"/>
            <ac:spMk id="17" creationId="{B5134011-2007-DAD1-F6C8-8FBAF33AE700}"/>
          </ac:spMkLst>
        </pc:spChg>
        <pc:spChg chg="add del mod">
          <ac:chgData name="Hans Gelissen (DHL SSC Maastricht)" userId="1afa8510-4eed-4b73-a29e-678838cd8acd" providerId="ADAL" clId="{3BE47AE8-95D9-40E2-AA3D-C68229D0CBC2}" dt="2023-05-01T13:26:49.731" v="1008" actId="21"/>
          <ac:spMkLst>
            <pc:docMk/>
            <pc:sldMk cId="2418611898" sldId="302"/>
            <ac:spMk id="18" creationId="{72278EC8-C966-8B47-0A01-F5AC0D3502CE}"/>
          </ac:spMkLst>
        </pc:spChg>
        <pc:spChg chg="add del mod">
          <ac:chgData name="Hans Gelissen (DHL SSC Maastricht)" userId="1afa8510-4eed-4b73-a29e-678838cd8acd" providerId="ADAL" clId="{3BE47AE8-95D9-40E2-AA3D-C68229D0CBC2}" dt="2023-05-01T13:26:49.731" v="1008" actId="21"/>
          <ac:spMkLst>
            <pc:docMk/>
            <pc:sldMk cId="2418611898" sldId="302"/>
            <ac:spMk id="19" creationId="{C6C326E8-2B4D-D6DD-30B9-80810D8F8B81}"/>
          </ac:spMkLst>
        </pc:spChg>
        <pc:spChg chg="add mod">
          <ac:chgData name="Hans Gelissen (DHL SSC Maastricht)" userId="1afa8510-4eed-4b73-a29e-678838cd8acd" providerId="ADAL" clId="{3BE47AE8-95D9-40E2-AA3D-C68229D0CBC2}" dt="2023-05-01T13:28:03.552" v="1032" actId="207"/>
          <ac:spMkLst>
            <pc:docMk/>
            <pc:sldMk cId="2418611898" sldId="302"/>
            <ac:spMk id="20" creationId="{96CF5CE2-03A7-69F7-D009-4948CF2127B4}"/>
          </ac:spMkLst>
        </pc:spChg>
        <pc:spChg chg="add mod">
          <ac:chgData name="Hans Gelissen (DHL SSC Maastricht)" userId="1afa8510-4eed-4b73-a29e-678838cd8acd" providerId="ADAL" clId="{3BE47AE8-95D9-40E2-AA3D-C68229D0CBC2}" dt="2023-05-01T13:28:03.552" v="1032" actId="207"/>
          <ac:spMkLst>
            <pc:docMk/>
            <pc:sldMk cId="2418611898" sldId="302"/>
            <ac:spMk id="21" creationId="{F153B197-66B0-40B9-B510-5348F090FF70}"/>
          </ac:spMkLst>
        </pc:spChg>
        <pc:spChg chg="add del mod ord">
          <ac:chgData name="Hans Gelissen (DHL SSC Maastricht)" userId="1afa8510-4eed-4b73-a29e-678838cd8acd" providerId="ADAL" clId="{3BE47AE8-95D9-40E2-AA3D-C68229D0CBC2}" dt="2023-05-01T13:27:43.408" v="1031" actId="700"/>
          <ac:spMkLst>
            <pc:docMk/>
            <pc:sldMk cId="2418611898" sldId="302"/>
            <ac:spMk id="22" creationId="{D3D7E206-E1F0-6318-FA02-8A4190C5BBFE}"/>
          </ac:spMkLst>
        </pc:spChg>
        <pc:spChg chg="add del mod ord">
          <ac:chgData name="Hans Gelissen (DHL SSC Maastricht)" userId="1afa8510-4eed-4b73-a29e-678838cd8acd" providerId="ADAL" clId="{3BE47AE8-95D9-40E2-AA3D-C68229D0CBC2}" dt="2023-05-01T13:27:43.168" v="1030" actId="700"/>
          <ac:spMkLst>
            <pc:docMk/>
            <pc:sldMk cId="2418611898" sldId="302"/>
            <ac:spMk id="23" creationId="{089B3B4C-4D09-9C06-2D7F-8915CB8D2C0D}"/>
          </ac:spMkLst>
        </pc:spChg>
        <pc:spChg chg="add del mod ord">
          <ac:chgData name="Hans Gelissen (DHL SSC Maastricht)" userId="1afa8510-4eed-4b73-a29e-678838cd8acd" providerId="ADAL" clId="{3BE47AE8-95D9-40E2-AA3D-C68229D0CBC2}" dt="2023-05-01T13:38:59.399" v="1425" actId="478"/>
          <ac:spMkLst>
            <pc:docMk/>
            <pc:sldMk cId="2418611898" sldId="302"/>
            <ac:spMk id="24" creationId="{F5844E70-D552-1A3B-EA7B-68C4CE5EB13C}"/>
          </ac:spMkLst>
        </pc:spChg>
      </pc:sldChg>
      <pc:sldChg chg="addSp delSp modSp add mod modClrScheme chgLayout">
        <pc:chgData name="Hans Gelissen (DHL SSC Maastricht)" userId="1afa8510-4eed-4b73-a29e-678838cd8acd" providerId="ADAL" clId="{3BE47AE8-95D9-40E2-AA3D-C68229D0CBC2}" dt="2023-05-01T13:18:11.286" v="655" actId="1036"/>
        <pc:sldMkLst>
          <pc:docMk/>
          <pc:sldMk cId="3868346904" sldId="303"/>
        </pc:sldMkLst>
        <pc:spChg chg="del mod ord">
          <ac:chgData name="Hans Gelissen (DHL SSC Maastricht)" userId="1afa8510-4eed-4b73-a29e-678838cd8acd" providerId="ADAL" clId="{3BE47AE8-95D9-40E2-AA3D-C68229D0CBC2}" dt="2023-05-01T13:16:39.634" v="593" actId="700"/>
          <ac:spMkLst>
            <pc:docMk/>
            <pc:sldMk cId="3868346904" sldId="303"/>
            <ac:spMk id="2" creationId="{4F270246-E744-77AA-C2E4-31BF5DD24F4E}"/>
          </ac:spMkLst>
        </pc:spChg>
        <pc:spChg chg="del mod ord">
          <ac:chgData name="Hans Gelissen (DHL SSC Maastricht)" userId="1afa8510-4eed-4b73-a29e-678838cd8acd" providerId="ADAL" clId="{3BE47AE8-95D9-40E2-AA3D-C68229D0CBC2}" dt="2023-05-01T13:16:39.634" v="593" actId="700"/>
          <ac:spMkLst>
            <pc:docMk/>
            <pc:sldMk cId="3868346904" sldId="303"/>
            <ac:spMk id="3" creationId="{3D3EB578-CE4A-393F-5D11-A9267766A8C5}"/>
          </ac:spMkLst>
        </pc:spChg>
        <pc:spChg chg="add mod ord">
          <ac:chgData name="Hans Gelissen (DHL SSC Maastricht)" userId="1afa8510-4eed-4b73-a29e-678838cd8acd" providerId="ADAL" clId="{3BE47AE8-95D9-40E2-AA3D-C68229D0CBC2}" dt="2023-05-01T13:16:53.980" v="621" actId="20577"/>
          <ac:spMkLst>
            <pc:docMk/>
            <pc:sldMk cId="3868346904" sldId="303"/>
            <ac:spMk id="4" creationId="{1A3E7888-7C31-F1B8-69F4-C5592C09DFD1}"/>
          </ac:spMkLst>
        </pc:spChg>
        <pc:spChg chg="add mod ord">
          <ac:chgData name="Hans Gelissen (DHL SSC Maastricht)" userId="1afa8510-4eed-4b73-a29e-678838cd8acd" providerId="ADAL" clId="{3BE47AE8-95D9-40E2-AA3D-C68229D0CBC2}" dt="2023-05-01T13:18:11.286" v="655" actId="1036"/>
          <ac:spMkLst>
            <pc:docMk/>
            <pc:sldMk cId="3868346904" sldId="303"/>
            <ac:spMk id="5" creationId="{F9E74F34-5A93-7E37-9F25-C47459C41689}"/>
          </ac:spMkLst>
        </pc:spChg>
        <pc:spChg chg="add mod">
          <ac:chgData name="Hans Gelissen (DHL SSC Maastricht)" userId="1afa8510-4eed-4b73-a29e-678838cd8acd" providerId="ADAL" clId="{3BE47AE8-95D9-40E2-AA3D-C68229D0CBC2}" dt="2023-05-01T13:18:11.286" v="655" actId="1036"/>
          <ac:spMkLst>
            <pc:docMk/>
            <pc:sldMk cId="3868346904" sldId="303"/>
            <ac:spMk id="6" creationId="{100CE677-48DA-34D2-ABE2-AC010A9C8C52}"/>
          </ac:spMkLst>
        </pc:spChg>
      </pc:sldChg>
      <pc:sldChg chg="addSp delSp modSp add mod modClrScheme chgLayout">
        <pc:chgData name="Hans Gelissen (DHL SSC Maastricht)" userId="1afa8510-4eed-4b73-a29e-678838cd8acd" providerId="ADAL" clId="{3BE47AE8-95D9-40E2-AA3D-C68229D0CBC2}" dt="2023-05-01T13:20:09.170" v="717" actId="1076"/>
        <pc:sldMkLst>
          <pc:docMk/>
          <pc:sldMk cId="501364990" sldId="304"/>
        </pc:sldMkLst>
        <pc:spChg chg="del mod ord">
          <ac:chgData name="Hans Gelissen (DHL SSC Maastricht)" userId="1afa8510-4eed-4b73-a29e-678838cd8acd" providerId="ADAL" clId="{3BE47AE8-95D9-40E2-AA3D-C68229D0CBC2}" dt="2023-05-01T13:19:23.730" v="663" actId="700"/>
          <ac:spMkLst>
            <pc:docMk/>
            <pc:sldMk cId="501364990" sldId="304"/>
            <ac:spMk id="2" creationId="{4F270246-E744-77AA-C2E4-31BF5DD24F4E}"/>
          </ac:spMkLst>
        </pc:spChg>
        <pc:spChg chg="del mod ord">
          <ac:chgData name="Hans Gelissen (DHL SSC Maastricht)" userId="1afa8510-4eed-4b73-a29e-678838cd8acd" providerId="ADAL" clId="{3BE47AE8-95D9-40E2-AA3D-C68229D0CBC2}" dt="2023-05-01T13:19:23.730" v="663" actId="700"/>
          <ac:spMkLst>
            <pc:docMk/>
            <pc:sldMk cId="501364990" sldId="304"/>
            <ac:spMk id="3" creationId="{3D3EB578-CE4A-393F-5D11-A9267766A8C5}"/>
          </ac:spMkLst>
        </pc:spChg>
        <pc:spChg chg="add mod ord">
          <ac:chgData name="Hans Gelissen (DHL SSC Maastricht)" userId="1afa8510-4eed-4b73-a29e-678838cd8acd" providerId="ADAL" clId="{3BE47AE8-95D9-40E2-AA3D-C68229D0CBC2}" dt="2023-05-01T13:19:44.038" v="709" actId="27636"/>
          <ac:spMkLst>
            <pc:docMk/>
            <pc:sldMk cId="501364990" sldId="304"/>
            <ac:spMk id="4" creationId="{864A7990-78B0-1434-1E4C-9BB413E17A16}"/>
          </ac:spMkLst>
        </pc:spChg>
        <pc:spChg chg="add del mod ord">
          <ac:chgData name="Hans Gelissen (DHL SSC Maastricht)" userId="1afa8510-4eed-4b73-a29e-678838cd8acd" providerId="ADAL" clId="{3BE47AE8-95D9-40E2-AA3D-C68229D0CBC2}" dt="2023-05-01T13:19:27.390" v="664" actId="478"/>
          <ac:spMkLst>
            <pc:docMk/>
            <pc:sldMk cId="501364990" sldId="304"/>
            <ac:spMk id="5" creationId="{AC3F63C8-9BFA-D3CD-49A1-930B2B60D2C2}"/>
          </ac:spMkLst>
        </pc:spChg>
        <pc:spChg chg="add del mod ord">
          <ac:chgData name="Hans Gelissen (DHL SSC Maastricht)" userId="1afa8510-4eed-4b73-a29e-678838cd8acd" providerId="ADAL" clId="{3BE47AE8-95D9-40E2-AA3D-C68229D0CBC2}" dt="2023-05-01T13:19:45.617" v="710" actId="478"/>
          <ac:spMkLst>
            <pc:docMk/>
            <pc:sldMk cId="501364990" sldId="304"/>
            <ac:spMk id="6" creationId="{E8894001-B107-E9C2-00D6-C379727C4CE2}"/>
          </ac:spMkLst>
        </pc:spChg>
        <pc:spChg chg="add mod">
          <ac:chgData name="Hans Gelissen (DHL SSC Maastricht)" userId="1afa8510-4eed-4b73-a29e-678838cd8acd" providerId="ADAL" clId="{3BE47AE8-95D9-40E2-AA3D-C68229D0CBC2}" dt="2023-05-01T13:19:58.110" v="712" actId="404"/>
          <ac:spMkLst>
            <pc:docMk/>
            <pc:sldMk cId="501364990" sldId="304"/>
            <ac:spMk id="9" creationId="{569568A7-54E8-E819-9E3A-C184B31D9917}"/>
          </ac:spMkLst>
        </pc:spChg>
        <pc:spChg chg="add mod">
          <ac:chgData name="Hans Gelissen (DHL SSC Maastricht)" userId="1afa8510-4eed-4b73-a29e-678838cd8acd" providerId="ADAL" clId="{3BE47AE8-95D9-40E2-AA3D-C68229D0CBC2}" dt="2023-05-01T13:19:58.110" v="712" actId="404"/>
          <ac:spMkLst>
            <pc:docMk/>
            <pc:sldMk cId="501364990" sldId="304"/>
            <ac:spMk id="10" creationId="{26211118-F5A8-C958-F33B-BD83DDDBCF3C}"/>
          </ac:spMkLst>
        </pc:spChg>
        <pc:spChg chg="add mod">
          <ac:chgData name="Hans Gelissen (DHL SSC Maastricht)" userId="1afa8510-4eed-4b73-a29e-678838cd8acd" providerId="ADAL" clId="{3BE47AE8-95D9-40E2-AA3D-C68229D0CBC2}" dt="2023-05-01T13:19:58.110" v="712" actId="404"/>
          <ac:spMkLst>
            <pc:docMk/>
            <pc:sldMk cId="501364990" sldId="304"/>
            <ac:spMk id="11" creationId="{B671D928-B693-8E31-AD4F-1E15907D524F}"/>
          </ac:spMkLst>
        </pc:spChg>
        <pc:spChg chg="add mod">
          <ac:chgData name="Hans Gelissen (DHL SSC Maastricht)" userId="1afa8510-4eed-4b73-a29e-678838cd8acd" providerId="ADAL" clId="{3BE47AE8-95D9-40E2-AA3D-C68229D0CBC2}" dt="2023-05-01T13:19:58.110" v="712" actId="404"/>
          <ac:spMkLst>
            <pc:docMk/>
            <pc:sldMk cId="501364990" sldId="304"/>
            <ac:spMk id="12" creationId="{FDC5A86F-0EF2-E23D-8453-A156AFD462AC}"/>
          </ac:spMkLst>
        </pc:spChg>
        <pc:spChg chg="add mod">
          <ac:chgData name="Hans Gelissen (DHL SSC Maastricht)" userId="1afa8510-4eed-4b73-a29e-678838cd8acd" providerId="ADAL" clId="{3BE47AE8-95D9-40E2-AA3D-C68229D0CBC2}" dt="2023-05-01T13:20:06.250" v="715" actId="1076"/>
          <ac:spMkLst>
            <pc:docMk/>
            <pc:sldMk cId="501364990" sldId="304"/>
            <ac:spMk id="13" creationId="{22A17F2A-4256-905F-516F-A37804E8EF6B}"/>
          </ac:spMkLst>
        </pc:spChg>
        <pc:spChg chg="add mod">
          <ac:chgData name="Hans Gelissen (DHL SSC Maastricht)" userId="1afa8510-4eed-4b73-a29e-678838cd8acd" providerId="ADAL" clId="{3BE47AE8-95D9-40E2-AA3D-C68229D0CBC2}" dt="2023-05-01T13:19:58.110" v="712" actId="404"/>
          <ac:spMkLst>
            <pc:docMk/>
            <pc:sldMk cId="501364990" sldId="304"/>
            <ac:spMk id="14" creationId="{EF8CC009-D15D-BF35-CF19-0C61447DEF52}"/>
          </ac:spMkLst>
        </pc:spChg>
        <pc:spChg chg="add mod">
          <ac:chgData name="Hans Gelissen (DHL SSC Maastricht)" userId="1afa8510-4eed-4b73-a29e-678838cd8acd" providerId="ADAL" clId="{3BE47AE8-95D9-40E2-AA3D-C68229D0CBC2}" dt="2023-05-01T13:20:09.170" v="717" actId="1076"/>
          <ac:spMkLst>
            <pc:docMk/>
            <pc:sldMk cId="501364990" sldId="304"/>
            <ac:spMk id="15" creationId="{BFDDD2D0-D6DD-2B48-D086-B6667B757F7F}"/>
          </ac:spMkLst>
        </pc:spChg>
        <pc:spChg chg="add mod">
          <ac:chgData name="Hans Gelissen (DHL SSC Maastricht)" userId="1afa8510-4eed-4b73-a29e-678838cd8acd" providerId="ADAL" clId="{3BE47AE8-95D9-40E2-AA3D-C68229D0CBC2}" dt="2023-05-01T13:19:58.110" v="712" actId="404"/>
          <ac:spMkLst>
            <pc:docMk/>
            <pc:sldMk cId="501364990" sldId="304"/>
            <ac:spMk id="16" creationId="{7908643E-AC79-A712-5F0C-496EDBF8AC92}"/>
          </ac:spMkLst>
        </pc:spChg>
        <pc:spChg chg="add mod">
          <ac:chgData name="Hans Gelissen (DHL SSC Maastricht)" userId="1afa8510-4eed-4b73-a29e-678838cd8acd" providerId="ADAL" clId="{3BE47AE8-95D9-40E2-AA3D-C68229D0CBC2}" dt="2023-05-01T13:20:07.450" v="716" actId="1076"/>
          <ac:spMkLst>
            <pc:docMk/>
            <pc:sldMk cId="501364990" sldId="304"/>
            <ac:spMk id="17" creationId="{341CF10A-B52C-A54B-364C-4B8329371CF4}"/>
          </ac:spMkLst>
        </pc:spChg>
        <pc:picChg chg="add mod">
          <ac:chgData name="Hans Gelissen (DHL SSC Maastricht)" userId="1afa8510-4eed-4b73-a29e-678838cd8acd" providerId="ADAL" clId="{3BE47AE8-95D9-40E2-AA3D-C68229D0CBC2}" dt="2023-05-01T13:19:32.050" v="665"/>
          <ac:picMkLst>
            <pc:docMk/>
            <pc:sldMk cId="501364990" sldId="304"/>
            <ac:picMk id="7" creationId="{8BE919AC-0F4A-15EA-F6FC-56E94AA3DD9C}"/>
          </ac:picMkLst>
        </pc:picChg>
        <pc:picChg chg="add mod">
          <ac:chgData name="Hans Gelissen (DHL SSC Maastricht)" userId="1afa8510-4eed-4b73-a29e-678838cd8acd" providerId="ADAL" clId="{3BE47AE8-95D9-40E2-AA3D-C68229D0CBC2}" dt="2023-05-01T13:19:58.110" v="712" actId="404"/>
          <ac:picMkLst>
            <pc:docMk/>
            <pc:sldMk cId="501364990" sldId="304"/>
            <ac:picMk id="8" creationId="{E19CA07B-01C7-C734-348E-3E3FF50A29F3}"/>
          </ac:picMkLst>
        </pc:picChg>
        <pc:picChg chg="add mod">
          <ac:chgData name="Hans Gelissen (DHL SSC Maastricht)" userId="1afa8510-4eed-4b73-a29e-678838cd8acd" providerId="ADAL" clId="{3BE47AE8-95D9-40E2-AA3D-C68229D0CBC2}" dt="2023-05-01T13:19:58.110" v="712" actId="404"/>
          <ac:picMkLst>
            <pc:docMk/>
            <pc:sldMk cId="501364990" sldId="304"/>
            <ac:picMk id="18" creationId="{25BF077B-C7BE-4F4A-1BB4-C6E8630284E3}"/>
          </ac:picMkLst>
        </pc:picChg>
      </pc:sldChg>
      <pc:sldChg chg="add del">
        <pc:chgData name="Hans Gelissen (DHL SSC Maastricht)" userId="1afa8510-4eed-4b73-a29e-678838cd8acd" providerId="ADAL" clId="{3BE47AE8-95D9-40E2-AA3D-C68229D0CBC2}" dt="2023-05-01T13:41:57.339" v="1480" actId="47"/>
        <pc:sldMkLst>
          <pc:docMk/>
          <pc:sldMk cId="3975405935" sldId="305"/>
        </pc:sldMkLst>
      </pc:sldChg>
      <pc:sldChg chg="add del">
        <pc:chgData name="Hans Gelissen (DHL SSC Maastricht)" userId="1afa8510-4eed-4b73-a29e-678838cd8acd" providerId="ADAL" clId="{3BE47AE8-95D9-40E2-AA3D-C68229D0CBC2}" dt="2023-05-01T14:05:06.961" v="2402" actId="47"/>
        <pc:sldMkLst>
          <pc:docMk/>
          <pc:sldMk cId="327630122" sldId="306"/>
        </pc:sldMkLst>
      </pc:sldChg>
      <pc:sldChg chg="add del">
        <pc:chgData name="Hans Gelissen (DHL SSC Maastricht)" userId="1afa8510-4eed-4b73-a29e-678838cd8acd" providerId="ADAL" clId="{3BE47AE8-95D9-40E2-AA3D-C68229D0CBC2}" dt="2023-05-01T13:18:48.755" v="659"/>
        <pc:sldMkLst>
          <pc:docMk/>
          <pc:sldMk cId="2772593945" sldId="307"/>
        </pc:sldMkLst>
      </pc:sldChg>
      <pc:sldChg chg="addSp delSp modSp add mod modClrScheme chgLayout">
        <pc:chgData name="Hans Gelissen (DHL SSC Maastricht)" userId="1afa8510-4eed-4b73-a29e-678838cd8acd" providerId="ADAL" clId="{3BE47AE8-95D9-40E2-AA3D-C68229D0CBC2}" dt="2023-05-01T13:40:06.410" v="1452"/>
        <pc:sldMkLst>
          <pc:docMk/>
          <pc:sldMk cId="4039378249" sldId="307"/>
        </pc:sldMkLst>
        <pc:spChg chg="del mod ord">
          <ac:chgData name="Hans Gelissen (DHL SSC Maastricht)" userId="1afa8510-4eed-4b73-a29e-678838cd8acd" providerId="ADAL" clId="{3BE47AE8-95D9-40E2-AA3D-C68229D0CBC2}" dt="2023-05-01T13:39:41.647" v="1426" actId="700"/>
          <ac:spMkLst>
            <pc:docMk/>
            <pc:sldMk cId="4039378249" sldId="307"/>
            <ac:spMk id="2" creationId="{4F270246-E744-77AA-C2E4-31BF5DD24F4E}"/>
          </ac:spMkLst>
        </pc:spChg>
        <pc:spChg chg="del mod ord">
          <ac:chgData name="Hans Gelissen (DHL SSC Maastricht)" userId="1afa8510-4eed-4b73-a29e-678838cd8acd" providerId="ADAL" clId="{3BE47AE8-95D9-40E2-AA3D-C68229D0CBC2}" dt="2023-05-01T13:39:41.647" v="1426" actId="700"/>
          <ac:spMkLst>
            <pc:docMk/>
            <pc:sldMk cId="4039378249" sldId="307"/>
            <ac:spMk id="3" creationId="{3D3EB578-CE4A-393F-5D11-A9267766A8C5}"/>
          </ac:spMkLst>
        </pc:spChg>
        <pc:spChg chg="add mod ord">
          <ac:chgData name="Hans Gelissen (DHL SSC Maastricht)" userId="1afa8510-4eed-4b73-a29e-678838cd8acd" providerId="ADAL" clId="{3BE47AE8-95D9-40E2-AA3D-C68229D0CBC2}" dt="2023-05-01T13:39:48.653" v="1447" actId="20577"/>
          <ac:spMkLst>
            <pc:docMk/>
            <pc:sldMk cId="4039378249" sldId="307"/>
            <ac:spMk id="4" creationId="{EE322696-1021-2398-393F-F62E32171ACB}"/>
          </ac:spMkLst>
        </pc:spChg>
        <pc:spChg chg="add del mod ord">
          <ac:chgData name="Hans Gelissen (DHL SSC Maastricht)" userId="1afa8510-4eed-4b73-a29e-678838cd8acd" providerId="ADAL" clId="{3BE47AE8-95D9-40E2-AA3D-C68229D0CBC2}" dt="2023-05-01T13:40:05.320" v="1451" actId="478"/>
          <ac:spMkLst>
            <pc:docMk/>
            <pc:sldMk cId="4039378249" sldId="307"/>
            <ac:spMk id="5" creationId="{5AF57231-412B-0794-FD9B-6DFC91FC88F2}"/>
          </ac:spMkLst>
        </pc:spChg>
        <pc:spChg chg="add del mod ord">
          <ac:chgData name="Hans Gelissen (DHL SSC Maastricht)" userId="1afa8510-4eed-4b73-a29e-678838cd8acd" providerId="ADAL" clId="{3BE47AE8-95D9-40E2-AA3D-C68229D0CBC2}" dt="2023-05-01T13:40:05.320" v="1451" actId="478"/>
          <ac:spMkLst>
            <pc:docMk/>
            <pc:sldMk cId="4039378249" sldId="307"/>
            <ac:spMk id="6" creationId="{B6FEFB31-B61A-88B4-76FF-67A67601A505}"/>
          </ac:spMkLst>
        </pc:spChg>
        <pc:spChg chg="add del mod ord">
          <ac:chgData name="Hans Gelissen (DHL SSC Maastricht)" userId="1afa8510-4eed-4b73-a29e-678838cd8acd" providerId="ADAL" clId="{3BE47AE8-95D9-40E2-AA3D-C68229D0CBC2}" dt="2023-05-01T13:40:05.320" v="1451" actId="478"/>
          <ac:spMkLst>
            <pc:docMk/>
            <pc:sldMk cId="4039378249" sldId="307"/>
            <ac:spMk id="7" creationId="{E0B3EA20-BAF1-A174-12D0-EC8FD78552C0}"/>
          </ac:spMkLst>
        </pc:spChg>
        <pc:spChg chg="add del mod ord">
          <ac:chgData name="Hans Gelissen (DHL SSC Maastricht)" userId="1afa8510-4eed-4b73-a29e-678838cd8acd" providerId="ADAL" clId="{3BE47AE8-95D9-40E2-AA3D-C68229D0CBC2}" dt="2023-05-01T13:40:01.954" v="1450" actId="478"/>
          <ac:spMkLst>
            <pc:docMk/>
            <pc:sldMk cId="4039378249" sldId="307"/>
            <ac:spMk id="8" creationId="{AD3A69D4-149A-E932-838E-25507657908E}"/>
          </ac:spMkLst>
        </pc:spChg>
        <pc:spChg chg="add del mod">
          <ac:chgData name="Hans Gelissen (DHL SSC Maastricht)" userId="1afa8510-4eed-4b73-a29e-678838cd8acd" providerId="ADAL" clId="{3BE47AE8-95D9-40E2-AA3D-C68229D0CBC2}" dt="2023-05-01T13:40:00.125" v="1449"/>
          <ac:spMkLst>
            <pc:docMk/>
            <pc:sldMk cId="4039378249" sldId="307"/>
            <ac:spMk id="9" creationId="{A915A19C-7CB2-5D3F-6F48-0AFFE6443303}"/>
          </ac:spMkLst>
        </pc:spChg>
        <pc:spChg chg="add del mod">
          <ac:chgData name="Hans Gelissen (DHL SSC Maastricht)" userId="1afa8510-4eed-4b73-a29e-678838cd8acd" providerId="ADAL" clId="{3BE47AE8-95D9-40E2-AA3D-C68229D0CBC2}" dt="2023-05-01T13:40:00.125" v="1449"/>
          <ac:spMkLst>
            <pc:docMk/>
            <pc:sldMk cId="4039378249" sldId="307"/>
            <ac:spMk id="10" creationId="{88EFAC59-8500-581C-D5DD-293818634ED1}"/>
          </ac:spMkLst>
        </pc:spChg>
        <pc:spChg chg="add del mod">
          <ac:chgData name="Hans Gelissen (DHL SSC Maastricht)" userId="1afa8510-4eed-4b73-a29e-678838cd8acd" providerId="ADAL" clId="{3BE47AE8-95D9-40E2-AA3D-C68229D0CBC2}" dt="2023-05-01T13:40:00.125" v="1449"/>
          <ac:spMkLst>
            <pc:docMk/>
            <pc:sldMk cId="4039378249" sldId="307"/>
            <ac:spMk id="11" creationId="{7AEF2A55-C605-3627-D8EB-C87AF7948268}"/>
          </ac:spMkLst>
        </pc:spChg>
        <pc:spChg chg="add mod">
          <ac:chgData name="Hans Gelissen (DHL SSC Maastricht)" userId="1afa8510-4eed-4b73-a29e-678838cd8acd" providerId="ADAL" clId="{3BE47AE8-95D9-40E2-AA3D-C68229D0CBC2}" dt="2023-05-01T13:40:06.410" v="1452"/>
          <ac:spMkLst>
            <pc:docMk/>
            <pc:sldMk cId="4039378249" sldId="307"/>
            <ac:spMk id="13" creationId="{60D9CDB7-8FB9-A8C4-9300-83C6FC5DDEAB}"/>
          </ac:spMkLst>
        </pc:spChg>
        <pc:spChg chg="add mod">
          <ac:chgData name="Hans Gelissen (DHL SSC Maastricht)" userId="1afa8510-4eed-4b73-a29e-678838cd8acd" providerId="ADAL" clId="{3BE47AE8-95D9-40E2-AA3D-C68229D0CBC2}" dt="2023-05-01T13:40:06.410" v="1452"/>
          <ac:spMkLst>
            <pc:docMk/>
            <pc:sldMk cId="4039378249" sldId="307"/>
            <ac:spMk id="14" creationId="{76AE0B64-A4D7-6805-29B4-9007C23D8C7F}"/>
          </ac:spMkLst>
        </pc:spChg>
        <pc:spChg chg="add mod">
          <ac:chgData name="Hans Gelissen (DHL SSC Maastricht)" userId="1afa8510-4eed-4b73-a29e-678838cd8acd" providerId="ADAL" clId="{3BE47AE8-95D9-40E2-AA3D-C68229D0CBC2}" dt="2023-05-01T13:40:06.410" v="1452"/>
          <ac:spMkLst>
            <pc:docMk/>
            <pc:sldMk cId="4039378249" sldId="307"/>
            <ac:spMk id="15" creationId="{C4E1C5C6-D40A-4E44-2A55-723E5F394977}"/>
          </ac:spMkLst>
        </pc:spChg>
        <pc:picChg chg="add del mod">
          <ac:chgData name="Hans Gelissen (DHL SSC Maastricht)" userId="1afa8510-4eed-4b73-a29e-678838cd8acd" providerId="ADAL" clId="{3BE47AE8-95D9-40E2-AA3D-C68229D0CBC2}" dt="2023-05-01T13:40:00.125" v="1449"/>
          <ac:picMkLst>
            <pc:docMk/>
            <pc:sldMk cId="4039378249" sldId="307"/>
            <ac:picMk id="12" creationId="{6035C715-10B5-A687-0A45-3BAE4E87C1F6}"/>
          </ac:picMkLst>
        </pc:picChg>
        <pc:picChg chg="add mod">
          <ac:chgData name="Hans Gelissen (DHL SSC Maastricht)" userId="1afa8510-4eed-4b73-a29e-678838cd8acd" providerId="ADAL" clId="{3BE47AE8-95D9-40E2-AA3D-C68229D0CBC2}" dt="2023-05-01T13:40:06.410" v="1452"/>
          <ac:picMkLst>
            <pc:docMk/>
            <pc:sldMk cId="4039378249" sldId="307"/>
            <ac:picMk id="16" creationId="{2397CECE-FD20-87A6-A78B-40791DFE145D}"/>
          </ac:picMkLst>
        </pc:picChg>
      </pc:sldChg>
      <pc:sldChg chg="add del">
        <pc:chgData name="Hans Gelissen (DHL SSC Maastricht)" userId="1afa8510-4eed-4b73-a29e-678838cd8acd" providerId="ADAL" clId="{3BE47AE8-95D9-40E2-AA3D-C68229D0CBC2}" dt="2023-05-01T13:41:55.121" v="1479" actId="47"/>
        <pc:sldMkLst>
          <pc:docMk/>
          <pc:sldMk cId="569936735" sldId="308"/>
        </pc:sldMkLst>
      </pc:sldChg>
      <pc:sldChg chg="add del">
        <pc:chgData name="Hans Gelissen (DHL SSC Maastricht)" userId="1afa8510-4eed-4b73-a29e-678838cd8acd" providerId="ADAL" clId="{3BE47AE8-95D9-40E2-AA3D-C68229D0CBC2}" dt="2023-05-01T13:18:48.137" v="658"/>
        <pc:sldMkLst>
          <pc:docMk/>
          <pc:sldMk cId="4037256301" sldId="308"/>
        </pc:sldMkLst>
      </pc:sldChg>
      <pc:sldChg chg="addSp delSp modSp add mod modClrScheme chgLayout">
        <pc:chgData name="Hans Gelissen (DHL SSC Maastricht)" userId="1afa8510-4eed-4b73-a29e-678838cd8acd" providerId="ADAL" clId="{3BE47AE8-95D9-40E2-AA3D-C68229D0CBC2}" dt="2023-05-01T13:54:11.243" v="1853" actId="1076"/>
        <pc:sldMkLst>
          <pc:docMk/>
          <pc:sldMk cId="898388269" sldId="309"/>
        </pc:sldMkLst>
        <pc:spChg chg="del mod ord">
          <ac:chgData name="Hans Gelissen (DHL SSC Maastricht)" userId="1afa8510-4eed-4b73-a29e-678838cd8acd" providerId="ADAL" clId="{3BE47AE8-95D9-40E2-AA3D-C68229D0CBC2}" dt="2023-05-01T13:43:13.289" v="1481" actId="700"/>
          <ac:spMkLst>
            <pc:docMk/>
            <pc:sldMk cId="898388269" sldId="309"/>
            <ac:spMk id="2" creationId="{4F270246-E744-77AA-C2E4-31BF5DD24F4E}"/>
          </ac:spMkLst>
        </pc:spChg>
        <pc:spChg chg="del mod ord">
          <ac:chgData name="Hans Gelissen (DHL SSC Maastricht)" userId="1afa8510-4eed-4b73-a29e-678838cd8acd" providerId="ADAL" clId="{3BE47AE8-95D9-40E2-AA3D-C68229D0CBC2}" dt="2023-05-01T13:43:13.289" v="1481" actId="700"/>
          <ac:spMkLst>
            <pc:docMk/>
            <pc:sldMk cId="898388269" sldId="309"/>
            <ac:spMk id="3" creationId="{3D3EB578-CE4A-393F-5D11-A9267766A8C5}"/>
          </ac:spMkLst>
        </pc:spChg>
        <pc:spChg chg="add mod ord">
          <ac:chgData name="Hans Gelissen (DHL SSC Maastricht)" userId="1afa8510-4eed-4b73-a29e-678838cd8acd" providerId="ADAL" clId="{3BE47AE8-95D9-40E2-AA3D-C68229D0CBC2}" dt="2023-05-01T13:52:08.776" v="1809" actId="20577"/>
          <ac:spMkLst>
            <pc:docMk/>
            <pc:sldMk cId="898388269" sldId="309"/>
            <ac:spMk id="4" creationId="{33BA666C-E305-0C7F-AEFA-8657CCAEC401}"/>
          </ac:spMkLst>
        </pc:spChg>
        <pc:spChg chg="add del mod ord">
          <ac:chgData name="Hans Gelissen (DHL SSC Maastricht)" userId="1afa8510-4eed-4b73-a29e-678838cd8acd" providerId="ADAL" clId="{3BE47AE8-95D9-40E2-AA3D-C68229D0CBC2}" dt="2023-05-01T13:43:16.302" v="1482" actId="478"/>
          <ac:spMkLst>
            <pc:docMk/>
            <pc:sldMk cId="898388269" sldId="309"/>
            <ac:spMk id="5" creationId="{483359D8-7F7F-1B3C-492A-5F7BC5295F4A}"/>
          </ac:spMkLst>
        </pc:spChg>
        <pc:spChg chg="add mod">
          <ac:chgData name="Hans Gelissen (DHL SSC Maastricht)" userId="1afa8510-4eed-4b73-a29e-678838cd8acd" providerId="ADAL" clId="{3BE47AE8-95D9-40E2-AA3D-C68229D0CBC2}" dt="2023-05-01T13:52:53.823" v="1818" actId="1076"/>
          <ac:spMkLst>
            <pc:docMk/>
            <pc:sldMk cId="898388269" sldId="309"/>
            <ac:spMk id="6" creationId="{7EC3259D-5E82-D409-A607-7CC70861AFF6}"/>
          </ac:spMkLst>
        </pc:spChg>
        <pc:spChg chg="add mod">
          <ac:chgData name="Hans Gelissen (DHL SSC Maastricht)" userId="1afa8510-4eed-4b73-a29e-678838cd8acd" providerId="ADAL" clId="{3BE47AE8-95D9-40E2-AA3D-C68229D0CBC2}" dt="2023-05-01T13:52:58.643" v="1819" actId="1076"/>
          <ac:spMkLst>
            <pc:docMk/>
            <pc:sldMk cId="898388269" sldId="309"/>
            <ac:spMk id="7" creationId="{FD8EAB30-54B6-6AA3-ABB5-817B8639B3AB}"/>
          </ac:spMkLst>
        </pc:spChg>
        <pc:spChg chg="add mod">
          <ac:chgData name="Hans Gelissen (DHL SSC Maastricht)" userId="1afa8510-4eed-4b73-a29e-678838cd8acd" providerId="ADAL" clId="{3BE47AE8-95D9-40E2-AA3D-C68229D0CBC2}" dt="2023-05-01T13:52:53.823" v="1818" actId="1076"/>
          <ac:spMkLst>
            <pc:docMk/>
            <pc:sldMk cId="898388269" sldId="309"/>
            <ac:spMk id="8" creationId="{43971BDC-3FF4-6053-D524-25369EE90958}"/>
          </ac:spMkLst>
        </pc:spChg>
        <pc:spChg chg="add mod">
          <ac:chgData name="Hans Gelissen (DHL SSC Maastricht)" userId="1afa8510-4eed-4b73-a29e-678838cd8acd" providerId="ADAL" clId="{3BE47AE8-95D9-40E2-AA3D-C68229D0CBC2}" dt="2023-05-01T13:52:53.823" v="1818" actId="1076"/>
          <ac:spMkLst>
            <pc:docMk/>
            <pc:sldMk cId="898388269" sldId="309"/>
            <ac:spMk id="9" creationId="{D914C360-31CB-D287-63C3-52EBBBA75480}"/>
          </ac:spMkLst>
        </pc:spChg>
        <pc:spChg chg="add mod">
          <ac:chgData name="Hans Gelissen (DHL SSC Maastricht)" userId="1afa8510-4eed-4b73-a29e-678838cd8acd" providerId="ADAL" clId="{3BE47AE8-95D9-40E2-AA3D-C68229D0CBC2}" dt="2023-05-01T13:52:53.823" v="1818" actId="1076"/>
          <ac:spMkLst>
            <pc:docMk/>
            <pc:sldMk cId="898388269" sldId="309"/>
            <ac:spMk id="10" creationId="{D9273CF2-CBF7-3007-E1D0-8EC55E23FFB1}"/>
          </ac:spMkLst>
        </pc:spChg>
        <pc:spChg chg="add mod">
          <ac:chgData name="Hans Gelissen (DHL SSC Maastricht)" userId="1afa8510-4eed-4b73-a29e-678838cd8acd" providerId="ADAL" clId="{3BE47AE8-95D9-40E2-AA3D-C68229D0CBC2}" dt="2023-05-01T13:52:53.823" v="1818" actId="1076"/>
          <ac:spMkLst>
            <pc:docMk/>
            <pc:sldMk cId="898388269" sldId="309"/>
            <ac:spMk id="11" creationId="{D9FB36ED-AF5B-8666-F13B-B1C381DE805D}"/>
          </ac:spMkLst>
        </pc:spChg>
        <pc:spChg chg="add mod">
          <ac:chgData name="Hans Gelissen (DHL SSC Maastricht)" userId="1afa8510-4eed-4b73-a29e-678838cd8acd" providerId="ADAL" clId="{3BE47AE8-95D9-40E2-AA3D-C68229D0CBC2}" dt="2023-05-01T13:52:53.823" v="1818" actId="1076"/>
          <ac:spMkLst>
            <pc:docMk/>
            <pc:sldMk cId="898388269" sldId="309"/>
            <ac:spMk id="12" creationId="{0FB54693-47D9-6C0B-39AE-6C50BBDC7624}"/>
          </ac:spMkLst>
        </pc:spChg>
        <pc:spChg chg="add mod">
          <ac:chgData name="Hans Gelissen (DHL SSC Maastricht)" userId="1afa8510-4eed-4b73-a29e-678838cd8acd" providerId="ADAL" clId="{3BE47AE8-95D9-40E2-AA3D-C68229D0CBC2}" dt="2023-05-01T13:52:53.823" v="1818" actId="1076"/>
          <ac:spMkLst>
            <pc:docMk/>
            <pc:sldMk cId="898388269" sldId="309"/>
            <ac:spMk id="13" creationId="{73971084-EDDC-F090-68CB-3BBE418BF4DB}"/>
          </ac:spMkLst>
        </pc:spChg>
        <pc:spChg chg="add mod">
          <ac:chgData name="Hans Gelissen (DHL SSC Maastricht)" userId="1afa8510-4eed-4b73-a29e-678838cd8acd" providerId="ADAL" clId="{3BE47AE8-95D9-40E2-AA3D-C68229D0CBC2}" dt="2023-05-01T13:52:53.823" v="1818" actId="1076"/>
          <ac:spMkLst>
            <pc:docMk/>
            <pc:sldMk cId="898388269" sldId="309"/>
            <ac:spMk id="14" creationId="{EC15125C-EBED-3ED9-D288-61F0FCAEF67A}"/>
          </ac:spMkLst>
        </pc:spChg>
        <pc:spChg chg="add mod">
          <ac:chgData name="Hans Gelissen (DHL SSC Maastricht)" userId="1afa8510-4eed-4b73-a29e-678838cd8acd" providerId="ADAL" clId="{3BE47AE8-95D9-40E2-AA3D-C68229D0CBC2}" dt="2023-05-01T13:52:53.823" v="1818" actId="1076"/>
          <ac:spMkLst>
            <pc:docMk/>
            <pc:sldMk cId="898388269" sldId="309"/>
            <ac:spMk id="15" creationId="{6AA285F3-2B0E-29B1-7DD1-EED37D059CA0}"/>
          </ac:spMkLst>
        </pc:spChg>
        <pc:spChg chg="add mod">
          <ac:chgData name="Hans Gelissen (DHL SSC Maastricht)" userId="1afa8510-4eed-4b73-a29e-678838cd8acd" providerId="ADAL" clId="{3BE47AE8-95D9-40E2-AA3D-C68229D0CBC2}" dt="2023-05-01T13:52:53.823" v="1818" actId="1076"/>
          <ac:spMkLst>
            <pc:docMk/>
            <pc:sldMk cId="898388269" sldId="309"/>
            <ac:spMk id="16" creationId="{B22A1FF4-0925-C8C8-B5C5-DC9CE1B91DDE}"/>
          </ac:spMkLst>
        </pc:spChg>
        <pc:spChg chg="add mod">
          <ac:chgData name="Hans Gelissen (DHL SSC Maastricht)" userId="1afa8510-4eed-4b73-a29e-678838cd8acd" providerId="ADAL" clId="{3BE47AE8-95D9-40E2-AA3D-C68229D0CBC2}" dt="2023-05-01T13:52:53.823" v="1818" actId="1076"/>
          <ac:spMkLst>
            <pc:docMk/>
            <pc:sldMk cId="898388269" sldId="309"/>
            <ac:spMk id="17" creationId="{C2AF41BB-5E40-1898-BBDC-32B108E19BF7}"/>
          </ac:spMkLst>
        </pc:spChg>
        <pc:spChg chg="add mod">
          <ac:chgData name="Hans Gelissen (DHL SSC Maastricht)" userId="1afa8510-4eed-4b73-a29e-678838cd8acd" providerId="ADAL" clId="{3BE47AE8-95D9-40E2-AA3D-C68229D0CBC2}" dt="2023-05-01T13:52:53.823" v="1818" actId="1076"/>
          <ac:spMkLst>
            <pc:docMk/>
            <pc:sldMk cId="898388269" sldId="309"/>
            <ac:spMk id="18" creationId="{780CAA20-2C42-9D03-0466-4F3077D2FB8E}"/>
          </ac:spMkLst>
        </pc:spChg>
        <pc:spChg chg="add mod">
          <ac:chgData name="Hans Gelissen (DHL SSC Maastricht)" userId="1afa8510-4eed-4b73-a29e-678838cd8acd" providerId="ADAL" clId="{3BE47AE8-95D9-40E2-AA3D-C68229D0CBC2}" dt="2023-05-01T13:52:53.823" v="1818" actId="1076"/>
          <ac:spMkLst>
            <pc:docMk/>
            <pc:sldMk cId="898388269" sldId="309"/>
            <ac:spMk id="19" creationId="{B8541910-83C3-25C4-3A12-6C43FE63C198}"/>
          </ac:spMkLst>
        </pc:spChg>
        <pc:spChg chg="add mod">
          <ac:chgData name="Hans Gelissen (DHL SSC Maastricht)" userId="1afa8510-4eed-4b73-a29e-678838cd8acd" providerId="ADAL" clId="{3BE47AE8-95D9-40E2-AA3D-C68229D0CBC2}" dt="2023-05-01T13:52:53.823" v="1818" actId="1076"/>
          <ac:spMkLst>
            <pc:docMk/>
            <pc:sldMk cId="898388269" sldId="309"/>
            <ac:spMk id="20" creationId="{FE8565CB-B217-7C08-1F2D-CF65B5C7EB13}"/>
          </ac:spMkLst>
        </pc:spChg>
        <pc:spChg chg="add del mod">
          <ac:chgData name="Hans Gelissen (DHL SSC Maastricht)" userId="1afa8510-4eed-4b73-a29e-678838cd8acd" providerId="ADAL" clId="{3BE47AE8-95D9-40E2-AA3D-C68229D0CBC2}" dt="2023-05-01T13:52:45.462" v="1817" actId="478"/>
          <ac:spMkLst>
            <pc:docMk/>
            <pc:sldMk cId="898388269" sldId="309"/>
            <ac:spMk id="23" creationId="{DC11152F-2B77-2E66-6B7C-557853BD18F3}"/>
          </ac:spMkLst>
        </pc:spChg>
        <pc:spChg chg="add del mod">
          <ac:chgData name="Hans Gelissen (DHL SSC Maastricht)" userId="1afa8510-4eed-4b73-a29e-678838cd8acd" providerId="ADAL" clId="{3BE47AE8-95D9-40E2-AA3D-C68229D0CBC2}" dt="2023-05-01T13:52:45.462" v="1817" actId="478"/>
          <ac:spMkLst>
            <pc:docMk/>
            <pc:sldMk cId="898388269" sldId="309"/>
            <ac:spMk id="24" creationId="{0105186A-06F5-9923-BB85-5BB93BE6428C}"/>
          </ac:spMkLst>
        </pc:spChg>
        <pc:spChg chg="add mod">
          <ac:chgData name="Hans Gelissen (DHL SSC Maastricht)" userId="1afa8510-4eed-4b73-a29e-678838cd8acd" providerId="ADAL" clId="{3BE47AE8-95D9-40E2-AA3D-C68229D0CBC2}" dt="2023-05-01T13:54:11.243" v="1853" actId="1076"/>
          <ac:spMkLst>
            <pc:docMk/>
            <pc:sldMk cId="898388269" sldId="309"/>
            <ac:spMk id="25" creationId="{5D8A119F-F63C-1DBC-81AB-CA5EF1D332F1}"/>
          </ac:spMkLst>
        </pc:spChg>
        <pc:picChg chg="add mod">
          <ac:chgData name="Hans Gelissen (DHL SSC Maastricht)" userId="1afa8510-4eed-4b73-a29e-678838cd8acd" providerId="ADAL" clId="{3BE47AE8-95D9-40E2-AA3D-C68229D0CBC2}" dt="2023-05-01T13:52:53.823" v="1818" actId="1076"/>
          <ac:picMkLst>
            <pc:docMk/>
            <pc:sldMk cId="898388269" sldId="309"/>
            <ac:picMk id="21" creationId="{8A911732-A893-0E08-49A5-EA5744F74498}"/>
          </ac:picMkLst>
        </pc:picChg>
        <pc:picChg chg="add mod">
          <ac:chgData name="Hans Gelissen (DHL SSC Maastricht)" userId="1afa8510-4eed-4b73-a29e-678838cd8acd" providerId="ADAL" clId="{3BE47AE8-95D9-40E2-AA3D-C68229D0CBC2}" dt="2023-05-01T13:52:53.823" v="1818" actId="1076"/>
          <ac:picMkLst>
            <pc:docMk/>
            <pc:sldMk cId="898388269" sldId="309"/>
            <ac:picMk id="22" creationId="{5A1699FF-9451-6448-69DD-9DD7CA95970E}"/>
          </ac:picMkLst>
        </pc:picChg>
      </pc:sldChg>
      <pc:sldChg chg="addSp delSp modSp add mod modClrScheme chgLayout">
        <pc:chgData name="Hans Gelissen (DHL SSC Maastricht)" userId="1afa8510-4eed-4b73-a29e-678838cd8acd" providerId="ADAL" clId="{3BE47AE8-95D9-40E2-AA3D-C68229D0CBC2}" dt="2023-05-01T14:04:59.913" v="2401" actId="20577"/>
        <pc:sldMkLst>
          <pc:docMk/>
          <pc:sldMk cId="2334012644" sldId="310"/>
        </pc:sldMkLst>
        <pc:spChg chg="del mod ord">
          <ac:chgData name="Hans Gelissen (DHL SSC Maastricht)" userId="1afa8510-4eed-4b73-a29e-678838cd8acd" providerId="ADAL" clId="{3BE47AE8-95D9-40E2-AA3D-C68229D0CBC2}" dt="2023-05-01T13:40:46.305" v="1456" actId="700"/>
          <ac:spMkLst>
            <pc:docMk/>
            <pc:sldMk cId="2334012644" sldId="310"/>
            <ac:spMk id="2" creationId="{4F270246-E744-77AA-C2E4-31BF5DD24F4E}"/>
          </ac:spMkLst>
        </pc:spChg>
        <pc:spChg chg="del">
          <ac:chgData name="Hans Gelissen (DHL SSC Maastricht)" userId="1afa8510-4eed-4b73-a29e-678838cd8acd" providerId="ADAL" clId="{3BE47AE8-95D9-40E2-AA3D-C68229D0CBC2}" dt="2023-05-01T13:40:46.305" v="1456" actId="700"/>
          <ac:spMkLst>
            <pc:docMk/>
            <pc:sldMk cId="2334012644" sldId="310"/>
            <ac:spMk id="3" creationId="{3D3EB578-CE4A-393F-5D11-A9267766A8C5}"/>
          </ac:spMkLst>
        </pc:spChg>
        <pc:spChg chg="add mod ord">
          <ac:chgData name="Hans Gelissen (DHL SSC Maastricht)" userId="1afa8510-4eed-4b73-a29e-678838cd8acd" providerId="ADAL" clId="{3BE47AE8-95D9-40E2-AA3D-C68229D0CBC2}" dt="2023-05-01T14:04:59.913" v="2401" actId="20577"/>
          <ac:spMkLst>
            <pc:docMk/>
            <pc:sldMk cId="2334012644" sldId="310"/>
            <ac:spMk id="4" creationId="{3A0C92EF-245F-84E6-5E27-D327F7C85EF3}"/>
          </ac:spMkLst>
        </pc:spChg>
      </pc:sldChg>
      <pc:sldChg chg="addSp delSp modSp add mod modClrScheme chgLayout">
        <pc:chgData name="Hans Gelissen (DHL SSC Maastricht)" userId="1afa8510-4eed-4b73-a29e-678838cd8acd" providerId="ADAL" clId="{3BE47AE8-95D9-40E2-AA3D-C68229D0CBC2}" dt="2023-05-01T14:32:38.794" v="2699" actId="14100"/>
        <pc:sldMkLst>
          <pc:docMk/>
          <pc:sldMk cId="82311341" sldId="311"/>
        </pc:sldMkLst>
        <pc:spChg chg="mod ord">
          <ac:chgData name="Hans Gelissen (DHL SSC Maastricht)" userId="1afa8510-4eed-4b73-a29e-678838cd8acd" providerId="ADAL" clId="{3BE47AE8-95D9-40E2-AA3D-C68229D0CBC2}" dt="2023-05-01T14:17:47.659" v="2695" actId="700"/>
          <ac:spMkLst>
            <pc:docMk/>
            <pc:sldMk cId="82311341" sldId="311"/>
            <ac:spMk id="2" creationId="{4F270246-E744-77AA-C2E4-31BF5DD24F4E}"/>
          </ac:spMkLst>
        </pc:spChg>
        <pc:spChg chg="del">
          <ac:chgData name="Hans Gelissen (DHL SSC Maastricht)" userId="1afa8510-4eed-4b73-a29e-678838cd8acd" providerId="ADAL" clId="{3BE47AE8-95D9-40E2-AA3D-C68229D0CBC2}" dt="2023-05-01T14:14:29.544" v="2467" actId="478"/>
          <ac:spMkLst>
            <pc:docMk/>
            <pc:sldMk cId="82311341" sldId="311"/>
            <ac:spMk id="3" creationId="{3D3EB578-CE4A-393F-5D11-A9267766A8C5}"/>
          </ac:spMkLst>
        </pc:spChg>
        <pc:spChg chg="add del mod ord">
          <ac:chgData name="Hans Gelissen (DHL SSC Maastricht)" userId="1afa8510-4eed-4b73-a29e-678838cd8acd" providerId="ADAL" clId="{3BE47AE8-95D9-40E2-AA3D-C68229D0CBC2}" dt="2023-05-01T14:15:16.212" v="2470" actId="478"/>
          <ac:spMkLst>
            <pc:docMk/>
            <pc:sldMk cId="82311341" sldId="311"/>
            <ac:spMk id="4" creationId="{589AF93A-B0B1-6ECA-145F-784AAEAA12EC}"/>
          </ac:spMkLst>
        </pc:spChg>
        <pc:spChg chg="add mod">
          <ac:chgData name="Hans Gelissen (DHL SSC Maastricht)" userId="1afa8510-4eed-4b73-a29e-678838cd8acd" providerId="ADAL" clId="{3BE47AE8-95D9-40E2-AA3D-C68229D0CBC2}" dt="2023-05-01T14:32:24.793" v="2697" actId="14100"/>
          <ac:spMkLst>
            <pc:docMk/>
            <pc:sldMk cId="82311341" sldId="311"/>
            <ac:spMk id="5" creationId="{214585FF-1903-6539-42B2-69629E303C37}"/>
          </ac:spMkLst>
        </pc:spChg>
        <pc:spChg chg="add mod">
          <ac:chgData name="Hans Gelissen (DHL SSC Maastricht)" userId="1afa8510-4eed-4b73-a29e-678838cd8acd" providerId="ADAL" clId="{3BE47AE8-95D9-40E2-AA3D-C68229D0CBC2}" dt="2023-05-01T14:32:38.794" v="2699" actId="14100"/>
          <ac:spMkLst>
            <pc:docMk/>
            <pc:sldMk cId="82311341" sldId="311"/>
            <ac:spMk id="6" creationId="{45CD44CB-FB3C-903A-0E28-ACF4A002A961}"/>
          </ac:spMkLst>
        </pc:spChg>
        <pc:spChg chg="add del mod ord">
          <ac:chgData name="Hans Gelissen (DHL SSC Maastricht)" userId="1afa8510-4eed-4b73-a29e-678838cd8acd" providerId="ADAL" clId="{3BE47AE8-95D9-40E2-AA3D-C68229D0CBC2}" dt="2023-05-01T14:17:53.807" v="2696" actId="478"/>
          <ac:spMkLst>
            <pc:docMk/>
            <pc:sldMk cId="82311341" sldId="311"/>
            <ac:spMk id="7" creationId="{408420EE-54D7-A0FB-23E1-4E880EE0ABA2}"/>
          </ac:spMkLst>
        </pc:spChg>
      </pc:sldChg>
      <pc:sldChg chg="add del">
        <pc:chgData name="Hans Gelissen (DHL SSC Maastricht)" userId="1afa8510-4eed-4b73-a29e-678838cd8acd" providerId="ADAL" clId="{3BE47AE8-95D9-40E2-AA3D-C68229D0CBC2}" dt="2023-05-01T14:05:06.961" v="2402" actId="47"/>
        <pc:sldMkLst>
          <pc:docMk/>
          <pc:sldMk cId="3885677509" sldId="312"/>
        </pc:sldMkLst>
      </pc:sldChg>
      <pc:sldChg chg="delSp modSp add mod modClrScheme chgLayout">
        <pc:chgData name="Hans Gelissen (DHL SSC Maastricht)" userId="1afa8510-4eed-4b73-a29e-678838cd8acd" providerId="ADAL" clId="{3BE47AE8-95D9-40E2-AA3D-C68229D0CBC2}" dt="2023-05-01T14:04:53.259" v="2390" actId="20577"/>
        <pc:sldMkLst>
          <pc:docMk/>
          <pc:sldMk cId="2429840562" sldId="313"/>
        </pc:sldMkLst>
        <pc:spChg chg="mod ord">
          <ac:chgData name="Hans Gelissen (DHL SSC Maastricht)" userId="1afa8510-4eed-4b73-a29e-678838cd8acd" providerId="ADAL" clId="{3BE47AE8-95D9-40E2-AA3D-C68229D0CBC2}" dt="2023-05-01T14:04:53.259" v="2390" actId="20577"/>
          <ac:spMkLst>
            <pc:docMk/>
            <pc:sldMk cId="2429840562" sldId="313"/>
            <ac:spMk id="2" creationId="{4F270246-E744-77AA-C2E4-31BF5DD24F4E}"/>
          </ac:spMkLst>
        </pc:spChg>
        <pc:spChg chg="del">
          <ac:chgData name="Hans Gelissen (DHL SSC Maastricht)" userId="1afa8510-4eed-4b73-a29e-678838cd8acd" providerId="ADAL" clId="{3BE47AE8-95D9-40E2-AA3D-C68229D0CBC2}" dt="2023-05-01T13:41:36.447" v="1468" actId="700"/>
          <ac:spMkLst>
            <pc:docMk/>
            <pc:sldMk cId="2429840562" sldId="313"/>
            <ac:spMk id="3" creationId="{3D3EB578-CE4A-393F-5D11-A9267766A8C5}"/>
          </ac:spMkLst>
        </pc:spChg>
      </pc:sldChg>
      <pc:sldChg chg="add del">
        <pc:chgData name="Hans Gelissen (DHL SSC Maastricht)" userId="1afa8510-4eed-4b73-a29e-678838cd8acd" providerId="ADAL" clId="{3BE47AE8-95D9-40E2-AA3D-C68229D0CBC2}" dt="2023-05-01T13:54:20.131" v="1854" actId="47"/>
        <pc:sldMkLst>
          <pc:docMk/>
          <pc:sldMk cId="976095697" sldId="314"/>
        </pc:sldMkLst>
      </pc:sldChg>
      <pc:sldChg chg="add del">
        <pc:chgData name="Hans Gelissen (DHL SSC Maastricht)" userId="1afa8510-4eed-4b73-a29e-678838cd8acd" providerId="ADAL" clId="{3BE47AE8-95D9-40E2-AA3D-C68229D0CBC2}" dt="2023-05-01T13:54:20.131" v="1854" actId="47"/>
        <pc:sldMkLst>
          <pc:docMk/>
          <pc:sldMk cId="3521702621" sldId="315"/>
        </pc:sldMkLst>
      </pc:sldChg>
      <pc:sldChg chg="delSp modSp add mod">
        <pc:chgData name="Hans Gelissen (DHL SSC Maastricht)" userId="1afa8510-4eed-4b73-a29e-678838cd8acd" providerId="ADAL" clId="{3BE47AE8-95D9-40E2-AA3D-C68229D0CBC2}" dt="2023-05-01T13:52:41.615" v="1816" actId="14100"/>
        <pc:sldMkLst>
          <pc:docMk/>
          <pc:sldMk cId="1023548627" sldId="316"/>
        </pc:sldMkLst>
        <pc:spChg chg="del">
          <ac:chgData name="Hans Gelissen (DHL SSC Maastricht)" userId="1afa8510-4eed-4b73-a29e-678838cd8acd" providerId="ADAL" clId="{3BE47AE8-95D9-40E2-AA3D-C68229D0CBC2}" dt="2023-05-01T13:52:27.016" v="1812" actId="478"/>
          <ac:spMkLst>
            <pc:docMk/>
            <pc:sldMk cId="1023548627" sldId="316"/>
            <ac:spMk id="6" creationId="{7EC3259D-5E82-D409-A607-7CC70861AFF6}"/>
          </ac:spMkLst>
        </pc:spChg>
        <pc:spChg chg="del">
          <ac:chgData name="Hans Gelissen (DHL SSC Maastricht)" userId="1afa8510-4eed-4b73-a29e-678838cd8acd" providerId="ADAL" clId="{3BE47AE8-95D9-40E2-AA3D-C68229D0CBC2}" dt="2023-05-01T13:52:30.465" v="1813" actId="478"/>
          <ac:spMkLst>
            <pc:docMk/>
            <pc:sldMk cId="1023548627" sldId="316"/>
            <ac:spMk id="7" creationId="{FD8EAB30-54B6-6AA3-ABB5-817B8639B3AB}"/>
          </ac:spMkLst>
        </pc:spChg>
        <pc:spChg chg="del">
          <ac:chgData name="Hans Gelissen (DHL SSC Maastricht)" userId="1afa8510-4eed-4b73-a29e-678838cd8acd" providerId="ADAL" clId="{3BE47AE8-95D9-40E2-AA3D-C68229D0CBC2}" dt="2023-05-01T13:52:27.016" v="1812" actId="478"/>
          <ac:spMkLst>
            <pc:docMk/>
            <pc:sldMk cId="1023548627" sldId="316"/>
            <ac:spMk id="8" creationId="{43971BDC-3FF4-6053-D524-25369EE90958}"/>
          </ac:spMkLst>
        </pc:spChg>
        <pc:spChg chg="del">
          <ac:chgData name="Hans Gelissen (DHL SSC Maastricht)" userId="1afa8510-4eed-4b73-a29e-678838cd8acd" providerId="ADAL" clId="{3BE47AE8-95D9-40E2-AA3D-C68229D0CBC2}" dt="2023-05-01T13:52:27.016" v="1812" actId="478"/>
          <ac:spMkLst>
            <pc:docMk/>
            <pc:sldMk cId="1023548627" sldId="316"/>
            <ac:spMk id="9" creationId="{D914C360-31CB-D287-63C3-52EBBBA75480}"/>
          </ac:spMkLst>
        </pc:spChg>
        <pc:spChg chg="del">
          <ac:chgData name="Hans Gelissen (DHL SSC Maastricht)" userId="1afa8510-4eed-4b73-a29e-678838cd8acd" providerId="ADAL" clId="{3BE47AE8-95D9-40E2-AA3D-C68229D0CBC2}" dt="2023-05-01T13:52:27.016" v="1812" actId="478"/>
          <ac:spMkLst>
            <pc:docMk/>
            <pc:sldMk cId="1023548627" sldId="316"/>
            <ac:spMk id="10" creationId="{D9273CF2-CBF7-3007-E1D0-8EC55E23FFB1}"/>
          </ac:spMkLst>
        </pc:spChg>
        <pc:spChg chg="del">
          <ac:chgData name="Hans Gelissen (DHL SSC Maastricht)" userId="1afa8510-4eed-4b73-a29e-678838cd8acd" providerId="ADAL" clId="{3BE47AE8-95D9-40E2-AA3D-C68229D0CBC2}" dt="2023-05-01T13:52:27.016" v="1812" actId="478"/>
          <ac:spMkLst>
            <pc:docMk/>
            <pc:sldMk cId="1023548627" sldId="316"/>
            <ac:spMk id="11" creationId="{D9FB36ED-AF5B-8666-F13B-B1C381DE805D}"/>
          </ac:spMkLst>
        </pc:spChg>
        <pc:spChg chg="del">
          <ac:chgData name="Hans Gelissen (DHL SSC Maastricht)" userId="1afa8510-4eed-4b73-a29e-678838cd8acd" providerId="ADAL" clId="{3BE47AE8-95D9-40E2-AA3D-C68229D0CBC2}" dt="2023-05-01T13:52:27.016" v="1812" actId="478"/>
          <ac:spMkLst>
            <pc:docMk/>
            <pc:sldMk cId="1023548627" sldId="316"/>
            <ac:spMk id="12" creationId="{0FB54693-47D9-6C0B-39AE-6C50BBDC7624}"/>
          </ac:spMkLst>
        </pc:spChg>
        <pc:spChg chg="del">
          <ac:chgData name="Hans Gelissen (DHL SSC Maastricht)" userId="1afa8510-4eed-4b73-a29e-678838cd8acd" providerId="ADAL" clId="{3BE47AE8-95D9-40E2-AA3D-C68229D0CBC2}" dt="2023-05-01T13:52:27.016" v="1812" actId="478"/>
          <ac:spMkLst>
            <pc:docMk/>
            <pc:sldMk cId="1023548627" sldId="316"/>
            <ac:spMk id="13" creationId="{73971084-EDDC-F090-68CB-3BBE418BF4DB}"/>
          </ac:spMkLst>
        </pc:spChg>
        <pc:spChg chg="del">
          <ac:chgData name="Hans Gelissen (DHL SSC Maastricht)" userId="1afa8510-4eed-4b73-a29e-678838cd8acd" providerId="ADAL" clId="{3BE47AE8-95D9-40E2-AA3D-C68229D0CBC2}" dt="2023-05-01T13:52:27.016" v="1812" actId="478"/>
          <ac:spMkLst>
            <pc:docMk/>
            <pc:sldMk cId="1023548627" sldId="316"/>
            <ac:spMk id="14" creationId="{EC15125C-EBED-3ED9-D288-61F0FCAEF67A}"/>
          </ac:spMkLst>
        </pc:spChg>
        <pc:spChg chg="del">
          <ac:chgData name="Hans Gelissen (DHL SSC Maastricht)" userId="1afa8510-4eed-4b73-a29e-678838cd8acd" providerId="ADAL" clId="{3BE47AE8-95D9-40E2-AA3D-C68229D0CBC2}" dt="2023-05-01T13:52:27.016" v="1812" actId="478"/>
          <ac:spMkLst>
            <pc:docMk/>
            <pc:sldMk cId="1023548627" sldId="316"/>
            <ac:spMk id="15" creationId="{6AA285F3-2B0E-29B1-7DD1-EED37D059CA0}"/>
          </ac:spMkLst>
        </pc:spChg>
        <pc:spChg chg="del">
          <ac:chgData name="Hans Gelissen (DHL SSC Maastricht)" userId="1afa8510-4eed-4b73-a29e-678838cd8acd" providerId="ADAL" clId="{3BE47AE8-95D9-40E2-AA3D-C68229D0CBC2}" dt="2023-05-01T13:52:27.016" v="1812" actId="478"/>
          <ac:spMkLst>
            <pc:docMk/>
            <pc:sldMk cId="1023548627" sldId="316"/>
            <ac:spMk id="16" creationId="{B22A1FF4-0925-C8C8-B5C5-DC9CE1B91DDE}"/>
          </ac:spMkLst>
        </pc:spChg>
        <pc:spChg chg="del">
          <ac:chgData name="Hans Gelissen (DHL SSC Maastricht)" userId="1afa8510-4eed-4b73-a29e-678838cd8acd" providerId="ADAL" clId="{3BE47AE8-95D9-40E2-AA3D-C68229D0CBC2}" dt="2023-05-01T13:52:27.016" v="1812" actId="478"/>
          <ac:spMkLst>
            <pc:docMk/>
            <pc:sldMk cId="1023548627" sldId="316"/>
            <ac:spMk id="17" creationId="{C2AF41BB-5E40-1898-BBDC-32B108E19BF7}"/>
          </ac:spMkLst>
        </pc:spChg>
        <pc:spChg chg="del">
          <ac:chgData name="Hans Gelissen (DHL SSC Maastricht)" userId="1afa8510-4eed-4b73-a29e-678838cd8acd" providerId="ADAL" clId="{3BE47AE8-95D9-40E2-AA3D-C68229D0CBC2}" dt="2023-05-01T13:52:27.016" v="1812" actId="478"/>
          <ac:spMkLst>
            <pc:docMk/>
            <pc:sldMk cId="1023548627" sldId="316"/>
            <ac:spMk id="18" creationId="{780CAA20-2C42-9D03-0466-4F3077D2FB8E}"/>
          </ac:spMkLst>
        </pc:spChg>
        <pc:spChg chg="del">
          <ac:chgData name="Hans Gelissen (DHL SSC Maastricht)" userId="1afa8510-4eed-4b73-a29e-678838cd8acd" providerId="ADAL" clId="{3BE47AE8-95D9-40E2-AA3D-C68229D0CBC2}" dt="2023-05-01T13:52:27.016" v="1812" actId="478"/>
          <ac:spMkLst>
            <pc:docMk/>
            <pc:sldMk cId="1023548627" sldId="316"/>
            <ac:spMk id="19" creationId="{B8541910-83C3-25C4-3A12-6C43FE63C198}"/>
          </ac:spMkLst>
        </pc:spChg>
        <pc:spChg chg="del">
          <ac:chgData name="Hans Gelissen (DHL SSC Maastricht)" userId="1afa8510-4eed-4b73-a29e-678838cd8acd" providerId="ADAL" clId="{3BE47AE8-95D9-40E2-AA3D-C68229D0CBC2}" dt="2023-05-01T13:52:27.016" v="1812" actId="478"/>
          <ac:spMkLst>
            <pc:docMk/>
            <pc:sldMk cId="1023548627" sldId="316"/>
            <ac:spMk id="20" creationId="{FE8565CB-B217-7C08-1F2D-CF65B5C7EB13}"/>
          </ac:spMkLst>
        </pc:spChg>
        <pc:spChg chg="mod">
          <ac:chgData name="Hans Gelissen (DHL SSC Maastricht)" userId="1afa8510-4eed-4b73-a29e-678838cd8acd" providerId="ADAL" clId="{3BE47AE8-95D9-40E2-AA3D-C68229D0CBC2}" dt="2023-05-01T13:52:35.385" v="1814" actId="1076"/>
          <ac:spMkLst>
            <pc:docMk/>
            <pc:sldMk cId="1023548627" sldId="316"/>
            <ac:spMk id="23" creationId="{DC11152F-2B77-2E66-6B7C-557853BD18F3}"/>
          </ac:spMkLst>
        </pc:spChg>
        <pc:spChg chg="mod">
          <ac:chgData name="Hans Gelissen (DHL SSC Maastricht)" userId="1afa8510-4eed-4b73-a29e-678838cd8acd" providerId="ADAL" clId="{3BE47AE8-95D9-40E2-AA3D-C68229D0CBC2}" dt="2023-05-01T13:52:41.615" v="1816" actId="14100"/>
          <ac:spMkLst>
            <pc:docMk/>
            <pc:sldMk cId="1023548627" sldId="316"/>
            <ac:spMk id="24" creationId="{0105186A-06F5-9923-BB85-5BB93BE6428C}"/>
          </ac:spMkLst>
        </pc:spChg>
        <pc:picChg chg="del">
          <ac:chgData name="Hans Gelissen (DHL SSC Maastricht)" userId="1afa8510-4eed-4b73-a29e-678838cd8acd" providerId="ADAL" clId="{3BE47AE8-95D9-40E2-AA3D-C68229D0CBC2}" dt="2023-05-01T13:52:27.016" v="1812" actId="478"/>
          <ac:picMkLst>
            <pc:docMk/>
            <pc:sldMk cId="1023548627" sldId="316"/>
            <ac:picMk id="21" creationId="{8A911732-A893-0E08-49A5-EA5744F74498}"/>
          </ac:picMkLst>
        </pc:picChg>
        <pc:picChg chg="del">
          <ac:chgData name="Hans Gelissen (DHL SSC Maastricht)" userId="1afa8510-4eed-4b73-a29e-678838cd8acd" providerId="ADAL" clId="{3BE47AE8-95D9-40E2-AA3D-C68229D0CBC2}" dt="2023-05-01T13:52:27.016" v="1812" actId="478"/>
          <ac:picMkLst>
            <pc:docMk/>
            <pc:sldMk cId="1023548627" sldId="316"/>
            <ac:picMk id="22" creationId="{5A1699FF-9451-6448-69DD-9DD7CA95970E}"/>
          </ac:picMkLst>
        </pc:picChg>
      </pc:sldChg>
      <pc:sldChg chg="modSp add mod">
        <pc:chgData name="Hans Gelissen (DHL SSC Maastricht)" userId="1afa8510-4eed-4b73-a29e-678838cd8acd" providerId="ADAL" clId="{3BE47AE8-95D9-40E2-AA3D-C68229D0CBC2}" dt="2023-05-01T14:02:18.916" v="2136" actId="20577"/>
        <pc:sldMkLst>
          <pc:docMk/>
          <pc:sldMk cId="3874048404" sldId="317"/>
        </pc:sldMkLst>
        <pc:spChg chg="mod">
          <ac:chgData name="Hans Gelissen (DHL SSC Maastricht)" userId="1afa8510-4eed-4b73-a29e-678838cd8acd" providerId="ADAL" clId="{3BE47AE8-95D9-40E2-AA3D-C68229D0CBC2}" dt="2023-05-01T13:54:27.919" v="1872" actId="20577"/>
          <ac:spMkLst>
            <pc:docMk/>
            <pc:sldMk cId="3874048404" sldId="317"/>
            <ac:spMk id="4" creationId="{33BA666C-E305-0C7F-AEFA-8657CCAEC401}"/>
          </ac:spMkLst>
        </pc:spChg>
        <pc:spChg chg="mod">
          <ac:chgData name="Hans Gelissen (DHL SSC Maastricht)" userId="1afa8510-4eed-4b73-a29e-678838cd8acd" providerId="ADAL" clId="{3BE47AE8-95D9-40E2-AA3D-C68229D0CBC2}" dt="2023-05-01T14:02:18.916" v="2136" actId="20577"/>
          <ac:spMkLst>
            <pc:docMk/>
            <pc:sldMk cId="3874048404" sldId="317"/>
            <ac:spMk id="25" creationId="{5D8A119F-F63C-1DBC-81AB-CA5EF1D332F1}"/>
          </ac:spMkLst>
        </pc:spChg>
      </pc:sldChg>
      <pc:sldChg chg="modSp add mod">
        <pc:chgData name="Hans Gelissen (DHL SSC Maastricht)" userId="1afa8510-4eed-4b73-a29e-678838cd8acd" providerId="ADAL" clId="{3BE47AE8-95D9-40E2-AA3D-C68229D0CBC2}" dt="2023-05-01T13:54:34.714" v="1889" actId="20577"/>
        <pc:sldMkLst>
          <pc:docMk/>
          <pc:sldMk cId="1354629526" sldId="318"/>
        </pc:sldMkLst>
        <pc:spChg chg="mod">
          <ac:chgData name="Hans Gelissen (DHL SSC Maastricht)" userId="1afa8510-4eed-4b73-a29e-678838cd8acd" providerId="ADAL" clId="{3BE47AE8-95D9-40E2-AA3D-C68229D0CBC2}" dt="2023-05-01T13:54:34.714" v="1889" actId="20577"/>
          <ac:spMkLst>
            <pc:docMk/>
            <pc:sldMk cId="1354629526" sldId="318"/>
            <ac:spMk id="4" creationId="{33BA666C-E305-0C7F-AEFA-8657CCAEC401}"/>
          </ac:spMkLst>
        </pc:spChg>
      </pc:sldChg>
      <pc:sldChg chg="modSp add mod">
        <pc:chgData name="Hans Gelissen (DHL SSC Maastricht)" userId="1afa8510-4eed-4b73-a29e-678838cd8acd" providerId="ADAL" clId="{3BE47AE8-95D9-40E2-AA3D-C68229D0CBC2}" dt="2023-05-01T14:04:19.672" v="2379" actId="20577"/>
        <pc:sldMkLst>
          <pc:docMk/>
          <pc:sldMk cId="2029407726" sldId="319"/>
        </pc:sldMkLst>
        <pc:spChg chg="mod">
          <ac:chgData name="Hans Gelissen (DHL SSC Maastricht)" userId="1afa8510-4eed-4b73-a29e-678838cd8acd" providerId="ADAL" clId="{3BE47AE8-95D9-40E2-AA3D-C68229D0CBC2}" dt="2023-05-01T14:00:11.199" v="1912" actId="20577"/>
          <ac:spMkLst>
            <pc:docMk/>
            <pc:sldMk cId="2029407726" sldId="319"/>
            <ac:spMk id="4" creationId="{33BA666C-E305-0C7F-AEFA-8657CCAEC401}"/>
          </ac:spMkLst>
        </pc:spChg>
        <pc:spChg chg="mod">
          <ac:chgData name="Hans Gelissen (DHL SSC Maastricht)" userId="1afa8510-4eed-4b73-a29e-678838cd8acd" providerId="ADAL" clId="{3BE47AE8-95D9-40E2-AA3D-C68229D0CBC2}" dt="2023-05-01T14:04:19.672" v="2379" actId="20577"/>
          <ac:spMkLst>
            <pc:docMk/>
            <pc:sldMk cId="2029407726" sldId="319"/>
            <ac:spMk id="25" creationId="{5D8A119F-F63C-1DBC-81AB-CA5EF1D332F1}"/>
          </ac:spMkLst>
        </pc:spChg>
      </pc:sldChg>
      <pc:sldChg chg="modSp add mod">
        <pc:chgData name="Hans Gelissen (DHL SSC Maastricht)" userId="1afa8510-4eed-4b73-a29e-678838cd8acd" providerId="ADAL" clId="{3BE47AE8-95D9-40E2-AA3D-C68229D0CBC2}" dt="2023-05-01T14:00:18.674" v="1936" actId="20577"/>
        <pc:sldMkLst>
          <pc:docMk/>
          <pc:sldMk cId="1971826098" sldId="320"/>
        </pc:sldMkLst>
        <pc:spChg chg="mod">
          <ac:chgData name="Hans Gelissen (DHL SSC Maastricht)" userId="1afa8510-4eed-4b73-a29e-678838cd8acd" providerId="ADAL" clId="{3BE47AE8-95D9-40E2-AA3D-C68229D0CBC2}" dt="2023-05-01T14:00:18.674" v="1936" actId="20577"/>
          <ac:spMkLst>
            <pc:docMk/>
            <pc:sldMk cId="1971826098" sldId="320"/>
            <ac:spMk id="4" creationId="{33BA666C-E305-0C7F-AEFA-8657CCAEC401}"/>
          </ac:spMkLst>
        </pc:spChg>
      </pc:sldChg>
      <pc:sldMasterChg chg="modSldLayout">
        <pc:chgData name="Hans Gelissen (DHL SSC Maastricht)" userId="1afa8510-4eed-4b73-a29e-678838cd8acd" providerId="ADAL" clId="{3BE47AE8-95D9-40E2-AA3D-C68229D0CBC2}" dt="2023-05-01T13:00:31.171" v="165" actId="166"/>
        <pc:sldMasterMkLst>
          <pc:docMk/>
          <pc:sldMasterMk cId="727954729" sldId="2147483772"/>
        </pc:sldMasterMkLst>
        <pc:sldLayoutChg chg="modSp mod">
          <pc:chgData name="Hans Gelissen (DHL SSC Maastricht)" userId="1afa8510-4eed-4b73-a29e-678838cd8acd" providerId="ADAL" clId="{3BE47AE8-95D9-40E2-AA3D-C68229D0CBC2}" dt="2023-05-01T13:00:10.808" v="162" actId="166"/>
          <pc:sldLayoutMkLst>
            <pc:docMk/>
            <pc:sldMasterMk cId="727954729" sldId="2147483772"/>
            <pc:sldLayoutMk cId="1997391794" sldId="2147483734"/>
          </pc:sldLayoutMkLst>
          <pc:spChg chg="ord">
            <ac:chgData name="Hans Gelissen (DHL SSC Maastricht)" userId="1afa8510-4eed-4b73-a29e-678838cd8acd" providerId="ADAL" clId="{3BE47AE8-95D9-40E2-AA3D-C68229D0CBC2}" dt="2023-05-01T13:00:10.808" v="162" actId="166"/>
            <ac:spMkLst>
              <pc:docMk/>
              <pc:sldMasterMk cId="727954729" sldId="2147483772"/>
              <pc:sldLayoutMk cId="1997391794" sldId="2147483734"/>
              <ac:spMk id="22" creationId="{5F0F26E2-6984-497F-8C8D-A3D6BEA48D1F}"/>
            </ac:spMkLst>
          </pc:spChg>
          <pc:spChg chg="ord">
            <ac:chgData name="Hans Gelissen (DHL SSC Maastricht)" userId="1afa8510-4eed-4b73-a29e-678838cd8acd" providerId="ADAL" clId="{3BE47AE8-95D9-40E2-AA3D-C68229D0CBC2}" dt="2023-05-01T13:00:10.808" v="162" actId="166"/>
            <ac:spMkLst>
              <pc:docMk/>
              <pc:sldMasterMk cId="727954729" sldId="2147483772"/>
              <pc:sldLayoutMk cId="1997391794" sldId="2147483734"/>
              <ac:spMk id="23" creationId="{5A7EBCD1-E692-4D90-ACF4-D8EE45581A6E}"/>
            </ac:spMkLst>
          </pc:spChg>
        </pc:sldLayoutChg>
        <pc:sldLayoutChg chg="modSp mod">
          <pc:chgData name="Hans Gelissen (DHL SSC Maastricht)" userId="1afa8510-4eed-4b73-a29e-678838cd8acd" providerId="ADAL" clId="{3BE47AE8-95D9-40E2-AA3D-C68229D0CBC2}" dt="2023-05-01T13:00:18.043" v="163" actId="166"/>
          <pc:sldLayoutMkLst>
            <pc:docMk/>
            <pc:sldMasterMk cId="727954729" sldId="2147483772"/>
            <pc:sldLayoutMk cId="3070187357" sldId="2147483773"/>
          </pc:sldLayoutMkLst>
          <pc:spChg chg="ord">
            <ac:chgData name="Hans Gelissen (DHL SSC Maastricht)" userId="1afa8510-4eed-4b73-a29e-678838cd8acd" providerId="ADAL" clId="{3BE47AE8-95D9-40E2-AA3D-C68229D0CBC2}" dt="2023-05-01T13:00:18.043" v="163" actId="166"/>
            <ac:spMkLst>
              <pc:docMk/>
              <pc:sldMasterMk cId="727954729" sldId="2147483772"/>
              <pc:sldLayoutMk cId="3070187357" sldId="2147483773"/>
              <ac:spMk id="65" creationId="{F4B32B3B-A5F6-4E29-BB11-FAD5271B3BCA}"/>
            </ac:spMkLst>
          </pc:spChg>
          <pc:spChg chg="ord">
            <ac:chgData name="Hans Gelissen (DHL SSC Maastricht)" userId="1afa8510-4eed-4b73-a29e-678838cd8acd" providerId="ADAL" clId="{3BE47AE8-95D9-40E2-AA3D-C68229D0CBC2}" dt="2023-05-01T13:00:18.043" v="163" actId="166"/>
            <ac:spMkLst>
              <pc:docMk/>
              <pc:sldMasterMk cId="727954729" sldId="2147483772"/>
              <pc:sldLayoutMk cId="3070187357" sldId="2147483773"/>
              <ac:spMk id="66" creationId="{841022AF-BF8D-4CD1-B085-8A7B4547899A}"/>
            </ac:spMkLst>
          </pc:spChg>
          <pc:spChg chg="ord">
            <ac:chgData name="Hans Gelissen (DHL SSC Maastricht)" userId="1afa8510-4eed-4b73-a29e-678838cd8acd" providerId="ADAL" clId="{3BE47AE8-95D9-40E2-AA3D-C68229D0CBC2}" dt="2023-05-01T13:00:18.043" v="163" actId="166"/>
            <ac:spMkLst>
              <pc:docMk/>
              <pc:sldMasterMk cId="727954729" sldId="2147483772"/>
              <pc:sldLayoutMk cId="3070187357" sldId="2147483773"/>
              <ac:spMk id="69" creationId="{93271725-8EAA-4D8B-8B10-F2593AB294D3}"/>
            </ac:spMkLst>
          </pc:spChg>
        </pc:sldLayoutChg>
        <pc:sldLayoutChg chg="modSp mod">
          <pc:chgData name="Hans Gelissen (DHL SSC Maastricht)" userId="1afa8510-4eed-4b73-a29e-678838cd8acd" providerId="ADAL" clId="{3BE47AE8-95D9-40E2-AA3D-C68229D0CBC2}" dt="2023-05-01T13:00:31.171" v="165" actId="166"/>
          <pc:sldLayoutMkLst>
            <pc:docMk/>
            <pc:sldMasterMk cId="727954729" sldId="2147483772"/>
            <pc:sldLayoutMk cId="2597155215" sldId="2147483774"/>
          </pc:sldLayoutMkLst>
          <pc:spChg chg="ord">
            <ac:chgData name="Hans Gelissen (DHL SSC Maastricht)" userId="1afa8510-4eed-4b73-a29e-678838cd8acd" providerId="ADAL" clId="{3BE47AE8-95D9-40E2-AA3D-C68229D0CBC2}" dt="2023-05-01T13:00:31.171" v="165" actId="166"/>
            <ac:spMkLst>
              <pc:docMk/>
              <pc:sldMasterMk cId="727954729" sldId="2147483772"/>
              <pc:sldLayoutMk cId="2597155215" sldId="2147483774"/>
              <ac:spMk id="65" creationId="{F4B32B3B-A5F6-4E29-BB11-FAD5271B3BCA}"/>
            </ac:spMkLst>
          </pc:spChg>
          <pc:spChg chg="ord">
            <ac:chgData name="Hans Gelissen (DHL SSC Maastricht)" userId="1afa8510-4eed-4b73-a29e-678838cd8acd" providerId="ADAL" clId="{3BE47AE8-95D9-40E2-AA3D-C68229D0CBC2}" dt="2023-05-01T13:00:27.358" v="164" actId="166"/>
            <ac:spMkLst>
              <pc:docMk/>
              <pc:sldMasterMk cId="727954729" sldId="2147483772"/>
              <pc:sldLayoutMk cId="2597155215" sldId="2147483774"/>
              <ac:spMk id="66" creationId="{841022AF-BF8D-4CD1-B085-8A7B4547899A}"/>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79376C-CCB9-470D-957B-31D17B9A9F13}" type="datetimeFigureOut">
              <a:rPr lang="nl-NL" smtClean="0"/>
              <a:t>14-7-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A189C3-052D-4975-A211-2A13C2628026}" type="slidenum">
              <a:rPr lang="nl-NL" smtClean="0"/>
              <a:t>‹#›</a:t>
            </a:fld>
            <a:endParaRPr lang="nl-NL"/>
          </a:p>
        </p:txBody>
      </p:sp>
    </p:spTree>
    <p:extLst>
      <p:ext uri="{BB962C8B-B14F-4D97-AF65-F5344CB8AC3E}">
        <p14:creationId xmlns:p14="http://schemas.microsoft.com/office/powerpoint/2010/main" val="21163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9.wdp"/></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0.wdp"/></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1.wdp"/></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2.wdp"/></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4.jpeg"/><Relationship Id="rId4" Type="http://schemas.openxmlformats.org/officeDocument/2006/relationships/image" Target="../media/image153.png"/></Relationships>
</file>

<file path=ppt/slideLayouts/_rels/slideLayout153.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5.jpeg"/><Relationship Id="rId4" Type="http://schemas.openxmlformats.org/officeDocument/2006/relationships/image" Target="../media/image153.png"/></Relationships>
</file>

<file path=ppt/slideLayouts/_rels/slideLayout15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6.jpeg"/><Relationship Id="rId4" Type="http://schemas.openxmlformats.org/officeDocument/2006/relationships/image" Target="../media/image153.png"/></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7.jpeg"/><Relationship Id="rId4" Type="http://schemas.openxmlformats.org/officeDocument/2006/relationships/image" Target="../media/image153.png"/></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8.jpeg"/><Relationship Id="rId4" Type="http://schemas.openxmlformats.org/officeDocument/2006/relationships/image" Target="../media/image153.png"/></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9.jpeg"/><Relationship Id="rId4" Type="http://schemas.openxmlformats.org/officeDocument/2006/relationships/image" Target="../media/image153.png"/></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0.jpeg"/><Relationship Id="rId4" Type="http://schemas.openxmlformats.org/officeDocument/2006/relationships/image" Target="../media/image153.png"/></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1.jpeg"/><Relationship Id="rId4" Type="http://schemas.openxmlformats.org/officeDocument/2006/relationships/image" Target="../media/image15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3.wdp"/></Relationships>
</file>

<file path=ppt/slideLayouts/_rels/slideLayout160.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2.jpeg"/><Relationship Id="rId4" Type="http://schemas.openxmlformats.org/officeDocument/2006/relationships/image" Target="../media/image153.png"/></Relationships>
</file>

<file path=ppt/slideLayouts/_rels/slideLayout16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3.jpeg"/><Relationship Id="rId4" Type="http://schemas.openxmlformats.org/officeDocument/2006/relationships/image" Target="../media/image153.png"/></Relationships>
</file>

<file path=ppt/slideLayouts/_rels/slideLayout162.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4.jpeg"/><Relationship Id="rId4" Type="http://schemas.openxmlformats.org/officeDocument/2006/relationships/image" Target="../media/image153.png"/></Relationships>
</file>

<file path=ppt/slideLayouts/_rels/slideLayout163.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5.jpeg"/><Relationship Id="rId4" Type="http://schemas.openxmlformats.org/officeDocument/2006/relationships/image" Target="../media/image153.png"/></Relationships>
</file>

<file path=ppt/slideLayouts/_rels/slideLayout16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6.jpeg"/><Relationship Id="rId4" Type="http://schemas.openxmlformats.org/officeDocument/2006/relationships/image" Target="../media/image153.png"/></Relationships>
</file>

<file path=ppt/slideLayouts/_rels/slideLayout16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7.jpeg"/><Relationship Id="rId4" Type="http://schemas.openxmlformats.org/officeDocument/2006/relationships/image" Target="../media/image153.png"/></Relationships>
</file>

<file path=ppt/slideLayouts/_rels/slideLayout16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8.jpeg"/><Relationship Id="rId4" Type="http://schemas.openxmlformats.org/officeDocument/2006/relationships/image" Target="../media/image153.png"/></Relationships>
</file>

<file path=ppt/slideLayouts/_rels/slideLayout16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9.jpeg"/><Relationship Id="rId4" Type="http://schemas.openxmlformats.org/officeDocument/2006/relationships/image" Target="../media/image153.png"/></Relationships>
</file>

<file path=ppt/slideLayouts/_rels/slideLayout16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70.jpeg"/><Relationship Id="rId4" Type="http://schemas.openxmlformats.org/officeDocument/2006/relationships/image" Target="../media/image153.png"/></Relationships>
</file>

<file path=ppt/slideLayouts/_rels/slideLayout16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71.jpeg"/><Relationship Id="rId4" Type="http://schemas.openxmlformats.org/officeDocument/2006/relationships/image" Target="../media/image153.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4" Type="http://schemas.openxmlformats.org/officeDocument/2006/relationships/image" Target="../media/image153.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2.png"/><Relationship Id="rId7" Type="http://schemas.microsoft.com/office/2007/relationships/hdphoto" Target="../media/hdphoto16.wdp"/><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174.png"/><Relationship Id="rId4" Type="http://schemas.openxmlformats.org/officeDocument/2006/relationships/image" Target="../media/image173.pn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3.wdp"/></Relationships>
</file>

<file path=ppt/slideLayouts/_rels/slideLayout18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6.wdp"/></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7.wdp"/></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9.wdp"/></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0.wdp"/></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1.wdp"/></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2.wdp"/></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3.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5.jpeg"/><Relationship Id="rId4" Type="http://schemas.microsoft.com/office/2007/relationships/hdphoto" Target="../media/hdphoto14.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6.jpeg"/><Relationship Id="rId4" Type="http://schemas.microsoft.com/office/2007/relationships/hdphoto" Target="../media/hdphoto14.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7.jpeg"/><Relationship Id="rId4" Type="http://schemas.microsoft.com/office/2007/relationships/hdphoto" Target="../media/hdphoto14.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8.jpeg"/><Relationship Id="rId4" Type="http://schemas.microsoft.com/office/2007/relationships/hdphoto" Target="../media/hdphoto14.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9.jpeg"/><Relationship Id="rId4" Type="http://schemas.microsoft.com/office/2007/relationships/hdphoto" Target="../media/hdphoto14.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0.jpeg"/><Relationship Id="rId4" Type="http://schemas.microsoft.com/office/2007/relationships/hdphoto" Target="../media/hdphoto14.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1.jpeg"/><Relationship Id="rId4" Type="http://schemas.microsoft.com/office/2007/relationships/hdphoto" Target="../media/hdphoto14.wdp"/></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2.jpeg"/><Relationship Id="rId4" Type="http://schemas.microsoft.com/office/2007/relationships/hdphoto" Target="../media/hdphoto14.wdp"/></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3.jpeg"/><Relationship Id="rId4" Type="http://schemas.microsoft.com/office/2007/relationships/hdphoto" Target="../media/hdphoto14.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3.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4.jpeg"/><Relationship Id="rId4" Type="http://schemas.microsoft.com/office/2007/relationships/hdphoto" Target="../media/hdphoto14.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5.jpeg"/><Relationship Id="rId4" Type="http://schemas.microsoft.com/office/2007/relationships/hdphoto" Target="../media/hdphoto14.wdp"/></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6.jpeg"/><Relationship Id="rId4" Type="http://schemas.microsoft.com/office/2007/relationships/hdphoto" Target="../media/hdphoto14.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7.jpeg"/><Relationship Id="rId4" Type="http://schemas.microsoft.com/office/2007/relationships/hdphoto" Target="../media/hdphoto14.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8.jpeg"/><Relationship Id="rId4" Type="http://schemas.microsoft.com/office/2007/relationships/hdphoto" Target="../media/hdphoto14.wdp"/></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9.jpeg"/><Relationship Id="rId4" Type="http://schemas.microsoft.com/office/2007/relationships/hdphoto" Target="../media/hdphoto14.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0.jpeg"/><Relationship Id="rId4" Type="http://schemas.microsoft.com/office/2007/relationships/hdphoto" Target="../media/hdphoto14.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1.jpeg"/><Relationship Id="rId4" Type="http://schemas.microsoft.com/office/2007/relationships/hdphoto" Target="../media/hdphoto14.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2.jpeg"/><Relationship Id="rId4" Type="http://schemas.microsoft.com/office/2007/relationships/hdphoto" Target="../media/hdphoto14.wdp"/></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3.jpeg"/><Relationship Id="rId4" Type="http://schemas.microsoft.com/office/2007/relationships/hdphoto" Target="../media/hdphoto14.wdp"/></Relationships>
</file>

<file path=ppt/slideLayouts/_rels/slideLayout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4" Type="http://schemas.microsoft.com/office/2007/relationships/hdphoto" Target="../media/hdphoto14.wdp"/></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6.wdp"/></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7.wdp"/></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PAGE AF 1">
    <p:bg>
      <p:bgPr>
        <a:gradFill>
          <a:gsLst>
            <a:gs pos="24000">
              <a:schemeClr val="bg1">
                <a:alpha val="0"/>
              </a:schemeClr>
            </a:gs>
            <a:gs pos="100000">
              <a:srgbClr val="D2EEFC"/>
            </a:gs>
          </a:gsLst>
          <a:lin ang="18900000" scaled="1"/>
        </a:gradFill>
        <a:effectLst/>
      </p:bgPr>
    </p:bg>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B43C5739-9C50-4600-9D8C-4447946A6FBF}"/>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0" y="0"/>
            <a:ext cx="7002463"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Placeholder 1">
            <a:extLst>
              <a:ext uri="{FF2B5EF4-FFF2-40B4-BE49-F238E27FC236}">
                <a16:creationId xmlns:a16="http://schemas.microsoft.com/office/drawing/2014/main" id="{191AB789-4696-4D28-8BA1-80BA27DDF8D9}"/>
              </a:ext>
            </a:extLst>
          </p:cNvPr>
          <p:cNvSpPr>
            <a:spLocks noGrp="1"/>
          </p:cNvSpPr>
          <p:nvPr userDrawn="1">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8" name="Text Placeholder 4">
            <a:extLst>
              <a:ext uri="{FF2B5EF4-FFF2-40B4-BE49-F238E27FC236}">
                <a16:creationId xmlns:a16="http://schemas.microsoft.com/office/drawing/2014/main" id="{6DAF46B8-C243-4C9F-AF45-36B2280FB4D7}"/>
              </a:ext>
            </a:extLst>
          </p:cNvPr>
          <p:cNvSpPr>
            <a:spLocks noGrp="1"/>
          </p:cNvSpPr>
          <p:nvPr userDrawn="1">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9" name="Date Placeholder 3">
            <a:extLst>
              <a:ext uri="{FF2B5EF4-FFF2-40B4-BE49-F238E27FC236}">
                <a16:creationId xmlns:a16="http://schemas.microsoft.com/office/drawing/2014/main" id="{6A9F479D-D471-49DF-AC54-46C87E517D50}"/>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1" name="Group 10">
            <a:extLst>
              <a:ext uri="{FF2B5EF4-FFF2-40B4-BE49-F238E27FC236}">
                <a16:creationId xmlns:a16="http://schemas.microsoft.com/office/drawing/2014/main" id="{21968E00-6E91-4173-A9A3-5DEA2D53D979}"/>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133708CC-3E47-41A1-AE08-A9241C1B2422}"/>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760AA8C5-CD0E-40BE-B9AC-CE4A89001B83}"/>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A6C49861-D4FC-4572-B2CD-9B4F661E6E6C}"/>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73DF7485-32A6-4E17-868B-C7991C3FEC4A}"/>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14BE175D-CC04-4FA0-B052-01427B361F2E}"/>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0751D0CE-6385-47F8-BE2A-E5B0319DA89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3C4FCADC-3A29-472B-A041-AF95888282E9}"/>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0A4CC093-256C-452E-ADF2-8AC8AD0B071D}"/>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Circle: Hollow 24">
              <a:extLst>
                <a:ext uri="{FF2B5EF4-FFF2-40B4-BE49-F238E27FC236}">
                  <a16:creationId xmlns:a16="http://schemas.microsoft.com/office/drawing/2014/main" id="{1055BC9F-76B2-4DC9-B646-C3DBF08FE73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Circle: Hollow 25">
              <a:extLst>
                <a:ext uri="{FF2B5EF4-FFF2-40B4-BE49-F238E27FC236}">
                  <a16:creationId xmlns:a16="http://schemas.microsoft.com/office/drawing/2014/main" id="{C1D61945-1D36-4C46-94EA-09639294D24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003A1C6A-1D6A-4180-A0D9-DC2133AB5E04}"/>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B64840F-D5C1-4379-AA9D-E34F57D8198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6E876024-2B36-40F8-BD2F-E22EC8FBA6C7}"/>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Oval 29">
              <a:extLst>
                <a:ext uri="{FF2B5EF4-FFF2-40B4-BE49-F238E27FC236}">
                  <a16:creationId xmlns:a16="http://schemas.microsoft.com/office/drawing/2014/main" id="{6B8E76BA-92E6-4A24-B419-903994AFA07A}"/>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1" name="Circle: Hollow 30">
              <a:extLst>
                <a:ext uri="{FF2B5EF4-FFF2-40B4-BE49-F238E27FC236}">
                  <a16:creationId xmlns:a16="http://schemas.microsoft.com/office/drawing/2014/main" id="{E4DAC61B-A6EA-40DF-A6CA-406E78A3482C}"/>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2" name="Oval 31">
              <a:extLst>
                <a:ext uri="{FF2B5EF4-FFF2-40B4-BE49-F238E27FC236}">
                  <a16:creationId xmlns:a16="http://schemas.microsoft.com/office/drawing/2014/main" id="{60B4BF62-C933-40EF-9FFD-36F7DFD2FA46}"/>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8AD7FE86-F458-477D-8987-7EB5E430B2AB}"/>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FB4C900C-B786-4C7D-B946-C89ADC1F868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025D3909-379A-47F0-BE09-6E6F278F48F9}"/>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E22B5079-F74D-4727-89F7-6199AF626577}"/>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2B01D1C-650D-42BB-BF15-ACD8121D921D}"/>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1AE4ACF3-006A-4F3C-9CB1-D0CE27F8A83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2D46D9B4-E9AB-433F-AEC7-A32416D14F4A}"/>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E1F2AF9C-48E6-45FD-9799-5AFB06701B23}"/>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1" name="Oval 40">
              <a:extLst>
                <a:ext uri="{FF2B5EF4-FFF2-40B4-BE49-F238E27FC236}">
                  <a16:creationId xmlns:a16="http://schemas.microsoft.com/office/drawing/2014/main" id="{B0B57178-91CE-43F2-8F84-93DFBDC06A4C}"/>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6CAF3AF-BE7C-4BE0-9F3E-414DDDE9546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44D45B54-E16A-41AE-906E-60C66656DB3E}"/>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384992A8-B534-4C80-B5D2-165C2096B568}"/>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345CB2C0-559C-483A-B467-18495FC6FE9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2704BC36-310C-499E-88DA-D5B9B0C46F8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7" name="Oval 46">
              <a:extLst>
                <a:ext uri="{FF2B5EF4-FFF2-40B4-BE49-F238E27FC236}">
                  <a16:creationId xmlns:a16="http://schemas.microsoft.com/office/drawing/2014/main" id="{C4769ECB-893B-469D-AFF4-A26CF0D77243}"/>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32318BD6-0127-461A-AE31-450236FAC8F9}"/>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7CEC3FF5-C7A7-44D8-964F-7EEAAC4B3D5A}"/>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063E4DF0-3BDF-44EF-B4CF-4695F482286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2FB73E6A-162D-4597-9949-E2DCBDCA7A1F}"/>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243743B5-5C57-4A17-BD16-FAFEAF84372E}"/>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FA380C2E-433A-4855-AE90-561C1DD5BC11}"/>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9A8EFCA7-D62A-40AF-A0EE-8CD32139C689}"/>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ACDDF769-3287-42DE-8726-81CD485DD11E}"/>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Oval 55">
              <a:extLst>
                <a:ext uri="{FF2B5EF4-FFF2-40B4-BE49-F238E27FC236}">
                  <a16:creationId xmlns:a16="http://schemas.microsoft.com/office/drawing/2014/main" id="{F74DFBA7-E237-4694-A16D-8C66E6670470}"/>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Circle: Hollow 56">
              <a:extLst>
                <a:ext uri="{FF2B5EF4-FFF2-40B4-BE49-F238E27FC236}">
                  <a16:creationId xmlns:a16="http://schemas.microsoft.com/office/drawing/2014/main" id="{2899A1AA-7CE5-469A-8DDE-69F0E7B41CB7}"/>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8" name="Circle: Hollow 57">
              <a:extLst>
                <a:ext uri="{FF2B5EF4-FFF2-40B4-BE49-F238E27FC236}">
                  <a16:creationId xmlns:a16="http://schemas.microsoft.com/office/drawing/2014/main" id="{773D1B30-05A4-495B-931B-968ECE0C14DF}"/>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CF9D376-61C4-9E31-EE52-3EE851DA7EDC}"/>
              </a:ext>
            </a:extLst>
          </p:cNvPr>
          <p:cNvGrpSpPr/>
          <p:nvPr userDrawn="1"/>
        </p:nvGrpSpPr>
        <p:grpSpPr>
          <a:xfrm>
            <a:off x="191742" y="216098"/>
            <a:ext cx="5241454" cy="644967"/>
            <a:chOff x="0" y="0"/>
            <a:chExt cx="3793402" cy="559435"/>
          </a:xfrm>
        </p:grpSpPr>
        <p:sp>
          <p:nvSpPr>
            <p:cNvPr id="3" name="Rectangle 2">
              <a:extLst>
                <a:ext uri="{FF2B5EF4-FFF2-40B4-BE49-F238E27FC236}">
                  <a16:creationId xmlns:a16="http://schemas.microsoft.com/office/drawing/2014/main" id="{27E921E6-16A1-8B4B-80D8-4AC493FA2EA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4" name="Picture 3">
              <a:extLst>
                <a:ext uri="{FF2B5EF4-FFF2-40B4-BE49-F238E27FC236}">
                  <a16:creationId xmlns:a16="http://schemas.microsoft.com/office/drawing/2014/main" id="{07BACFFC-2DF1-564F-4585-5807B759F5F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3F30818D-A923-18D1-8DD3-59832A85E104}"/>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024D5327-2601-81DB-22EE-AC3A2F56C328}"/>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03307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ASHPAGE SA 3">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F9B6AB-F9A0-4EC1-A281-A500C0BBC4DB}"/>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1968" y="0"/>
            <a:ext cx="728432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CB1764CA-5D9E-486C-B161-FDBA6DEA1EB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36" b="99466" l="65302" r="96520">
                        <a14:foregroundMark x1="96622" y1="59188" x2="96520" y2="61111"/>
                        <a14:foregroundMark x1="96622" y1="54701" x2="95906" y2="56944"/>
                        <a14:foregroundMark x1="82600" y1="24573" x2="80348" y2="27457"/>
                        <a14:foregroundMark x1="84749" y1="22436" x2="90276" y2="24038"/>
                        <a14:foregroundMark x1="67451" y1="63034" x2="65404" y2="64103"/>
                        <a14:foregroundMark x1="94063" y1="77350" x2="95906" y2="99466"/>
                        <a14:foregroundMark x1="78506" y1="83120" x2="73900" y2="98504"/>
                        <a14:foregroundMark x1="87206" y1="22650" x2="87206" y2="22650"/>
                        <a14:foregroundMark x1="87206" y1="22329" x2="85466" y2="22222"/>
                        <a14:backgroundMark x1="72979" y1="91239" x2="71341" y2="99573"/>
                        <a14:backgroundMark x1="85670" y1="21902" x2="85670" y2="21902"/>
                      </a14:backgroundRemoval>
                    </a14:imgEffect>
                  </a14:imgLayer>
                </a14:imgProps>
              </a:ext>
              <a:ext uri="{28A0092B-C50C-407E-A947-70E740481C1C}">
                <a14:useLocalDpi xmlns:a14="http://schemas.microsoft.com/office/drawing/2010/main" val="0"/>
              </a:ext>
            </a:extLst>
          </a:blip>
          <a:srcRect l="63474"/>
          <a:stretch/>
        </p:blipFill>
        <p:spPr bwMode="auto">
          <a:xfrm flipH="1">
            <a:off x="-35859" y="-46506"/>
            <a:ext cx="2680288" cy="690855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25EDAA18-DB59-A724-D93C-D8F83A414F21}"/>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3CD36F34-552E-CBE6-5E1D-986D68AE3EC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03ED88A0-743F-A764-F7B7-1FCAFD93647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647A78D3-C105-4935-0308-5D2656FA7CF6}"/>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96D8F20-7299-A43E-2789-D316A558CAC2}"/>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6119405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PAGE IMAGE TOP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44">
            <a:extLst>
              <a:ext uri="{FF2B5EF4-FFF2-40B4-BE49-F238E27FC236}">
                <a16:creationId xmlns:a16="http://schemas.microsoft.com/office/drawing/2014/main" id="{1FFD8D38-55F1-455B-8F57-103CA35CDCD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61652" y="-181354"/>
            <a:ext cx="2881395" cy="2881395"/>
          </a:xfrm>
          <a:prstGeom prst="ellipse">
            <a:avLst/>
          </a:prstGeom>
          <a:ln>
            <a:noFill/>
          </a:ln>
        </p:spPr>
      </p:pic>
      <p:sp>
        <p:nvSpPr>
          <p:cNvPr id="2" name="Text Placeholder 4">
            <a:extLst>
              <a:ext uri="{FF2B5EF4-FFF2-40B4-BE49-F238E27FC236}">
                <a16:creationId xmlns:a16="http://schemas.microsoft.com/office/drawing/2014/main" id="{EDB224E9-AD85-8940-C67B-9B7A36BF5EC4}"/>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9964C1B-1A66-D349-0698-DA1B6B08A7D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623591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PAGE IMAGE TOP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28" descr="A group of people posing for the camera&#10;&#10;Description automatically generated">
            <a:extLst>
              <a:ext uri="{FF2B5EF4-FFF2-40B4-BE49-F238E27FC236}">
                <a16:creationId xmlns:a16="http://schemas.microsoft.com/office/drawing/2014/main" id="{CAE5C3F0-7A57-4509-A39B-B712FEE8DD6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1703" y="-184115"/>
            <a:ext cx="2881395" cy="2881395"/>
          </a:xfrm>
          <a:prstGeom prst="ellipse">
            <a:avLst/>
          </a:prstGeom>
          <a:ln>
            <a:noFill/>
          </a:ln>
        </p:spPr>
      </p:pic>
      <p:sp>
        <p:nvSpPr>
          <p:cNvPr id="2" name="Text Placeholder 4">
            <a:extLst>
              <a:ext uri="{FF2B5EF4-FFF2-40B4-BE49-F238E27FC236}">
                <a16:creationId xmlns:a16="http://schemas.microsoft.com/office/drawing/2014/main" id="{52348451-0E59-7072-1125-10F07E0F30D8}"/>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B606F5D-94F6-1533-83AF-351CEABA72D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6965470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PAGE IMAGE TOP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137">
            <a:extLst>
              <a:ext uri="{FF2B5EF4-FFF2-40B4-BE49-F238E27FC236}">
                <a16:creationId xmlns:a16="http://schemas.microsoft.com/office/drawing/2014/main" id="{A88CDFA4-3048-4B5A-B351-99A4F57263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933" y="-161905"/>
            <a:ext cx="2881395" cy="2881395"/>
          </a:xfrm>
          <a:prstGeom prst="ellipse">
            <a:avLst/>
          </a:prstGeom>
          <a:ln>
            <a:noFill/>
          </a:ln>
        </p:spPr>
      </p:pic>
      <p:sp>
        <p:nvSpPr>
          <p:cNvPr id="2" name="Text Placeholder 4">
            <a:extLst>
              <a:ext uri="{FF2B5EF4-FFF2-40B4-BE49-F238E27FC236}">
                <a16:creationId xmlns:a16="http://schemas.microsoft.com/office/drawing/2014/main" id="{2C8BE9FF-2BB1-4891-9F91-D5DDE7B0099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4AC79B8-17F2-F290-04C6-BC76581AD7C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0248782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PAGE IMAGE TOP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32">
            <a:extLst>
              <a:ext uri="{FF2B5EF4-FFF2-40B4-BE49-F238E27FC236}">
                <a16:creationId xmlns:a16="http://schemas.microsoft.com/office/drawing/2014/main" id="{D4F8B68D-F1AB-4BBB-93B4-ADA9BAD1EE0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3950" y="-163609"/>
            <a:ext cx="2881395" cy="2881395"/>
          </a:xfrm>
          <a:prstGeom prst="ellipse">
            <a:avLst/>
          </a:prstGeom>
          <a:ln>
            <a:noFill/>
          </a:ln>
        </p:spPr>
      </p:pic>
      <p:sp>
        <p:nvSpPr>
          <p:cNvPr id="2" name="Text Placeholder 4">
            <a:extLst>
              <a:ext uri="{FF2B5EF4-FFF2-40B4-BE49-F238E27FC236}">
                <a16:creationId xmlns:a16="http://schemas.microsoft.com/office/drawing/2014/main" id="{06E58E42-850A-642E-881A-2234FFF86B19}"/>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F770049-56D9-64E9-B315-A8F306B97F0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8758325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PAGE IMAGE TOP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68">
            <a:extLst>
              <a:ext uri="{FF2B5EF4-FFF2-40B4-BE49-F238E27FC236}">
                <a16:creationId xmlns:a16="http://schemas.microsoft.com/office/drawing/2014/main" id="{9667BFF7-1B13-4CC9-BF2C-11388F0C33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439" y="-188152"/>
            <a:ext cx="2881395" cy="2881395"/>
          </a:xfrm>
          <a:prstGeom prst="ellipse">
            <a:avLst/>
          </a:prstGeom>
          <a:ln>
            <a:noFill/>
          </a:ln>
        </p:spPr>
      </p:pic>
      <p:sp>
        <p:nvSpPr>
          <p:cNvPr id="2" name="Text Placeholder 4">
            <a:extLst>
              <a:ext uri="{FF2B5EF4-FFF2-40B4-BE49-F238E27FC236}">
                <a16:creationId xmlns:a16="http://schemas.microsoft.com/office/drawing/2014/main" id="{C681E71E-39C1-10C1-168F-75D331B10F78}"/>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03563E9-2511-F662-BEC5-6F9EDF2CAF4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3747395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PAGE IMAGE TOP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73" descr="A picture containing person, yellow, blue&#10;&#10;Description automatically generated">
            <a:extLst>
              <a:ext uri="{FF2B5EF4-FFF2-40B4-BE49-F238E27FC236}">
                <a16:creationId xmlns:a16="http://schemas.microsoft.com/office/drawing/2014/main" id="{7C958FA5-9EB2-4506-9A88-C836A322990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35864" y="-193876"/>
            <a:ext cx="2881395" cy="2881395"/>
          </a:xfrm>
          <a:prstGeom prst="ellipse">
            <a:avLst/>
          </a:prstGeom>
          <a:ln>
            <a:noFill/>
          </a:ln>
        </p:spPr>
      </p:pic>
      <p:sp>
        <p:nvSpPr>
          <p:cNvPr id="2" name="Text Placeholder 4">
            <a:extLst>
              <a:ext uri="{FF2B5EF4-FFF2-40B4-BE49-F238E27FC236}">
                <a16:creationId xmlns:a16="http://schemas.microsoft.com/office/drawing/2014/main" id="{AACB6144-4CDC-F0A7-8C64-E9E7D840D066}"/>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77348B2-6892-993C-EE3B-4876E28625A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722049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PAGE IMAGE TOP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83">
            <a:extLst>
              <a:ext uri="{FF2B5EF4-FFF2-40B4-BE49-F238E27FC236}">
                <a16:creationId xmlns:a16="http://schemas.microsoft.com/office/drawing/2014/main" id="{14DC6DCD-0887-4C8A-AD51-C66A4BF969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764" y="-156396"/>
            <a:ext cx="2881395" cy="2881395"/>
          </a:xfrm>
          <a:prstGeom prst="ellipse">
            <a:avLst/>
          </a:prstGeom>
          <a:ln>
            <a:noFill/>
          </a:ln>
        </p:spPr>
      </p:pic>
      <p:sp>
        <p:nvSpPr>
          <p:cNvPr id="2" name="Text Placeholder 4">
            <a:extLst>
              <a:ext uri="{FF2B5EF4-FFF2-40B4-BE49-F238E27FC236}">
                <a16:creationId xmlns:a16="http://schemas.microsoft.com/office/drawing/2014/main" id="{A07D941F-CED7-1849-ED94-268CDDE2A66A}"/>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2B6FF0D-27DF-7259-ABDE-4CF1216B51B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9744605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PAGE IMAGE TOP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78">
            <a:extLst>
              <a:ext uri="{FF2B5EF4-FFF2-40B4-BE49-F238E27FC236}">
                <a16:creationId xmlns:a16="http://schemas.microsoft.com/office/drawing/2014/main" id="{867149C0-22C6-417C-9400-0D1F080D45A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439" y="-185519"/>
            <a:ext cx="2881395" cy="2881395"/>
          </a:xfrm>
          <a:prstGeom prst="ellipse">
            <a:avLst/>
          </a:prstGeom>
          <a:ln>
            <a:noFill/>
          </a:ln>
        </p:spPr>
      </p:pic>
      <p:sp>
        <p:nvSpPr>
          <p:cNvPr id="2" name="Text Placeholder 4">
            <a:extLst>
              <a:ext uri="{FF2B5EF4-FFF2-40B4-BE49-F238E27FC236}">
                <a16:creationId xmlns:a16="http://schemas.microsoft.com/office/drawing/2014/main" id="{062F1AEE-9D24-0048-7F2B-C4962CBB622A}"/>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45C83A9-8BD1-9BE1-CD10-1D0556E8E39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9198554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PAGE IMAGE TOP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1" name="Picture Placeholder 159" descr="A group of people in clothing&#10;&#10;Description automatically generated with low confidence">
            <a:extLst>
              <a:ext uri="{FF2B5EF4-FFF2-40B4-BE49-F238E27FC236}">
                <a16:creationId xmlns:a16="http://schemas.microsoft.com/office/drawing/2014/main" id="{86B42518-54F2-48D0-AB37-26AB746B9A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443"/>
          <a:stretch/>
        </p:blipFill>
        <p:spPr>
          <a:xfrm>
            <a:off x="9450647" y="-194761"/>
            <a:ext cx="2881395" cy="2881395"/>
          </a:xfrm>
          <a:prstGeom prst="ellipse">
            <a:avLst/>
          </a:prstGeom>
          <a:ln>
            <a:noFill/>
          </a:ln>
        </p:spPr>
      </p:pic>
      <p:sp>
        <p:nvSpPr>
          <p:cNvPr id="2" name="Text Placeholder 4">
            <a:extLst>
              <a:ext uri="{FF2B5EF4-FFF2-40B4-BE49-F238E27FC236}">
                <a16:creationId xmlns:a16="http://schemas.microsoft.com/office/drawing/2014/main" id="{02F82E83-09F9-0167-70CF-3A81F890A1A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2B9FE3B-3438-111E-62A6-7B392E00C6A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949150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PAGE IMAGE TOP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49">
            <a:extLst>
              <a:ext uri="{FF2B5EF4-FFF2-40B4-BE49-F238E27FC236}">
                <a16:creationId xmlns:a16="http://schemas.microsoft.com/office/drawing/2014/main" id="{E6F26590-4515-4493-9748-C1D3865E573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6823" y="-180955"/>
            <a:ext cx="2881395" cy="2881395"/>
          </a:xfrm>
          <a:prstGeom prst="ellipse">
            <a:avLst/>
          </a:prstGeom>
          <a:ln>
            <a:noFill/>
          </a:ln>
        </p:spPr>
      </p:pic>
      <p:sp>
        <p:nvSpPr>
          <p:cNvPr id="2" name="Text Placeholder 4">
            <a:extLst>
              <a:ext uri="{FF2B5EF4-FFF2-40B4-BE49-F238E27FC236}">
                <a16:creationId xmlns:a16="http://schemas.microsoft.com/office/drawing/2014/main" id="{4681F249-64D6-2B9C-50FE-89D13B9D3D0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6E2C2D0-E0C6-08CC-D501-6BCBFF1CBC92}"/>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771766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ASHPAGE WE 1">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323FBCDE-CAB9-449A-85C0-B8C741E8236C}"/>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1"/>
            <a:ext cx="7130921" cy="6864293"/>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E027146-DD36-4B10-E010-E174C50CB3FE}"/>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AFC20903-0F33-99BA-B6D9-55F97A4CBFF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6CF34091-AF4E-0DFA-E8D0-B7CDC87B7A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0ECD6E78-8C81-2CAD-8596-6DBCF61CFE1C}"/>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ABEC81F6-9B6F-CFBE-11C8-D961C0B6E61D}"/>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8243271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PAGE IMAGE TOP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54">
            <a:extLst>
              <a:ext uri="{FF2B5EF4-FFF2-40B4-BE49-F238E27FC236}">
                <a16:creationId xmlns:a16="http://schemas.microsoft.com/office/drawing/2014/main" id="{99ED9B69-E260-4071-A1FE-0CAD30A88C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010" y="-158441"/>
            <a:ext cx="2881395" cy="2881395"/>
          </a:xfrm>
          <a:prstGeom prst="ellipse">
            <a:avLst/>
          </a:prstGeom>
          <a:ln>
            <a:noFill/>
          </a:ln>
        </p:spPr>
      </p:pic>
      <p:sp>
        <p:nvSpPr>
          <p:cNvPr id="2" name="Text Placeholder 4">
            <a:extLst>
              <a:ext uri="{FF2B5EF4-FFF2-40B4-BE49-F238E27FC236}">
                <a16:creationId xmlns:a16="http://schemas.microsoft.com/office/drawing/2014/main" id="{6CC04867-27C9-96F2-87EE-0D36ED363ED9}"/>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A408564-E490-F243-5807-69E787479B2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87360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PAGE IMAGE TOP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8F8C57A-9156-4C48-80B8-BB5DBA493B8B}"/>
              </a:ext>
            </a:extLst>
          </p:cNvPr>
          <p:cNvSpPr>
            <a:spLocks noChangeAspect="1"/>
          </p:cNvSpPr>
          <p:nvPr userDrawn="1"/>
        </p:nvSpPr>
        <p:spPr>
          <a:xfrm>
            <a:off x="9156146" y="-437487"/>
            <a:ext cx="3439291" cy="3406128"/>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D9BD97E-8857-487F-A778-D7DB70EA67CF}"/>
              </a:ext>
            </a:extLst>
          </p:cNvPr>
          <p:cNvSpPr>
            <a:spLocks noChangeAspect="1"/>
          </p:cNvSpPr>
          <p:nvPr userDrawn="1"/>
        </p:nvSpPr>
        <p:spPr>
          <a:xfrm>
            <a:off x="9242995" y="-345174"/>
            <a:ext cx="3261356" cy="3229908"/>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Picture Placeholder 2">
            <a:extLst>
              <a:ext uri="{FF2B5EF4-FFF2-40B4-BE49-F238E27FC236}">
                <a16:creationId xmlns:a16="http://schemas.microsoft.com/office/drawing/2014/main" id="{6C7233ED-32AA-4806-845D-0643D1B06CEE}"/>
              </a:ext>
            </a:extLst>
          </p:cNvPr>
          <p:cNvSpPr>
            <a:spLocks noGrp="1" noChangeAspect="1"/>
          </p:cNvSpPr>
          <p:nvPr>
            <p:ph type="pic" sz="quarter" idx="10"/>
          </p:nvPr>
        </p:nvSpPr>
        <p:spPr>
          <a:xfrm>
            <a:off x="9429064" y="-180364"/>
            <a:ext cx="2881395" cy="2881395"/>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5B59A2BB-D46E-B6C2-910B-FBC8C4C3090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464805C-ACBD-D5AD-98CE-032FCC4315E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5107181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PAGE IMAGE BOTTOM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4">
            <a:extLst>
              <a:ext uri="{FF2B5EF4-FFF2-40B4-BE49-F238E27FC236}">
                <a16:creationId xmlns:a16="http://schemas.microsoft.com/office/drawing/2014/main" id="{C757CF11-20B2-4700-8713-4A67CFD8676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68041" y="3883604"/>
            <a:ext cx="3099286" cy="3099286"/>
          </a:xfrm>
          <a:prstGeom prst="ellipse">
            <a:avLst/>
          </a:prstGeom>
          <a:ln>
            <a:noFill/>
          </a:ln>
        </p:spPr>
      </p:pic>
      <p:sp>
        <p:nvSpPr>
          <p:cNvPr id="2" name="Text Placeholder 4">
            <a:extLst>
              <a:ext uri="{FF2B5EF4-FFF2-40B4-BE49-F238E27FC236}">
                <a16:creationId xmlns:a16="http://schemas.microsoft.com/office/drawing/2014/main" id="{AB05D7D2-A361-26D9-8597-1548C7AC3B59}"/>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448B2D6-C0E2-A201-C38A-72969377957E}"/>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2948797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PAGE IMAGE BOTTOM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19">
            <a:extLst>
              <a:ext uri="{FF2B5EF4-FFF2-40B4-BE49-F238E27FC236}">
                <a16:creationId xmlns:a16="http://schemas.microsoft.com/office/drawing/2014/main" id="{6881D655-B486-4AB5-B00C-EF67803F211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1165" y="3886995"/>
            <a:ext cx="3099286" cy="3099286"/>
          </a:xfrm>
          <a:prstGeom prst="ellipse">
            <a:avLst/>
          </a:prstGeom>
          <a:ln>
            <a:noFill/>
          </a:ln>
        </p:spPr>
      </p:pic>
      <p:sp>
        <p:nvSpPr>
          <p:cNvPr id="2" name="Text Placeholder 4">
            <a:extLst>
              <a:ext uri="{FF2B5EF4-FFF2-40B4-BE49-F238E27FC236}">
                <a16:creationId xmlns:a16="http://schemas.microsoft.com/office/drawing/2014/main" id="{BC52211A-A0E4-2340-873F-C3F4642AC0F0}"/>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D27DDAE-9F94-70B1-551C-75978D6FBFDE}"/>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1125113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PAGE IMAGE BOTTOM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14">
            <a:extLst>
              <a:ext uri="{FF2B5EF4-FFF2-40B4-BE49-F238E27FC236}">
                <a16:creationId xmlns:a16="http://schemas.microsoft.com/office/drawing/2014/main" id="{9F00E62C-64C3-4F25-825D-900EFD72EB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1084" y="3889550"/>
            <a:ext cx="3099286" cy="3099286"/>
          </a:xfrm>
          <a:prstGeom prst="ellipse">
            <a:avLst/>
          </a:prstGeom>
          <a:ln>
            <a:noFill/>
          </a:ln>
        </p:spPr>
      </p:pic>
      <p:sp>
        <p:nvSpPr>
          <p:cNvPr id="2" name="Text Placeholder 4">
            <a:extLst>
              <a:ext uri="{FF2B5EF4-FFF2-40B4-BE49-F238E27FC236}">
                <a16:creationId xmlns:a16="http://schemas.microsoft.com/office/drawing/2014/main" id="{B9F12178-4D40-7AE2-FE82-502E54B1FA5A}"/>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CDE7BFE-BC2F-A677-B001-C77154A2CC7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9735088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PAGE IMAGE BOTTOM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
            <a:extLst>
              <a:ext uri="{FF2B5EF4-FFF2-40B4-BE49-F238E27FC236}">
                <a16:creationId xmlns:a16="http://schemas.microsoft.com/office/drawing/2014/main" id="{BCE4A188-44D9-4D50-8252-5E5A0F3389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6"/>
          <a:stretch/>
        </p:blipFill>
        <p:spPr>
          <a:xfrm>
            <a:off x="-168041" y="3878999"/>
            <a:ext cx="3099286" cy="3099286"/>
          </a:xfrm>
          <a:prstGeom prst="ellipse">
            <a:avLst/>
          </a:prstGeom>
          <a:ln>
            <a:noFill/>
          </a:ln>
        </p:spPr>
      </p:pic>
      <p:sp>
        <p:nvSpPr>
          <p:cNvPr id="2" name="Text Placeholder 4">
            <a:extLst>
              <a:ext uri="{FF2B5EF4-FFF2-40B4-BE49-F238E27FC236}">
                <a16:creationId xmlns:a16="http://schemas.microsoft.com/office/drawing/2014/main" id="{F0EF24D3-41DD-EA70-F8E6-3052AC7AB44C}"/>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4BE1DE7-3FE4-A3C5-C976-7E168F28E8AE}"/>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334512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PAGE IMAGE BOTTOM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83" descr="A picture containing person&#10;&#10;Description automatically generated">
            <a:extLst>
              <a:ext uri="{FF2B5EF4-FFF2-40B4-BE49-F238E27FC236}">
                <a16:creationId xmlns:a16="http://schemas.microsoft.com/office/drawing/2014/main" id="{2BEA96F9-02D1-4229-BD4F-A862A957E8E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2476" y="3879878"/>
            <a:ext cx="3099286" cy="3099286"/>
          </a:xfrm>
          <a:prstGeom prst="ellipse">
            <a:avLst/>
          </a:prstGeom>
          <a:ln>
            <a:noFill/>
          </a:ln>
        </p:spPr>
      </p:pic>
      <p:sp>
        <p:nvSpPr>
          <p:cNvPr id="2" name="Text Placeholder 4">
            <a:extLst>
              <a:ext uri="{FF2B5EF4-FFF2-40B4-BE49-F238E27FC236}">
                <a16:creationId xmlns:a16="http://schemas.microsoft.com/office/drawing/2014/main" id="{51FCD209-EEC2-42E5-3DDA-BBF466EAF54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F016E71-3E9C-CDE3-4ADF-9E520C4DBCC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446371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PAGE IMAGE BOTTOM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93" descr="A group of people sitting together smiling&#10;&#10;Description automatically generated with low confidence">
            <a:extLst>
              <a:ext uri="{FF2B5EF4-FFF2-40B4-BE49-F238E27FC236}">
                <a16:creationId xmlns:a16="http://schemas.microsoft.com/office/drawing/2014/main" id="{FDB658BD-59CB-4575-BA10-B7631BBE2C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2997" y="3894637"/>
            <a:ext cx="3099286" cy="3099286"/>
          </a:xfrm>
          <a:prstGeom prst="ellipse">
            <a:avLst/>
          </a:prstGeom>
          <a:ln>
            <a:noFill/>
          </a:ln>
        </p:spPr>
      </p:pic>
      <p:sp>
        <p:nvSpPr>
          <p:cNvPr id="2" name="Text Placeholder 4">
            <a:extLst>
              <a:ext uri="{FF2B5EF4-FFF2-40B4-BE49-F238E27FC236}">
                <a16:creationId xmlns:a16="http://schemas.microsoft.com/office/drawing/2014/main" id="{96EB3F94-F48E-3B19-BC28-05A0BDF98A0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157C280-730C-5D20-0982-617F95FD16A9}"/>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91226973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PAGE IMAGE BOTTOM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78" descr="A picture containing person, nature, posing, night&#10;&#10;Description automatically generated">
            <a:extLst>
              <a:ext uri="{FF2B5EF4-FFF2-40B4-BE49-F238E27FC236}">
                <a16:creationId xmlns:a16="http://schemas.microsoft.com/office/drawing/2014/main" id="{CE3BAD35-B15E-4867-B64F-91EF87CAD9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2034" y="3902164"/>
            <a:ext cx="3099286" cy="3099286"/>
          </a:xfrm>
          <a:prstGeom prst="ellipse">
            <a:avLst/>
          </a:prstGeom>
          <a:ln>
            <a:noFill/>
          </a:ln>
        </p:spPr>
      </p:pic>
      <p:sp>
        <p:nvSpPr>
          <p:cNvPr id="2" name="Text Placeholder 4">
            <a:extLst>
              <a:ext uri="{FF2B5EF4-FFF2-40B4-BE49-F238E27FC236}">
                <a16:creationId xmlns:a16="http://schemas.microsoft.com/office/drawing/2014/main" id="{E5539E6B-5C46-5838-0FF3-49C76F065EBB}"/>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748BF74-2063-939C-0440-A479339089E9}"/>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2593156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PAGE IMAGE BOTTOM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8" descr="A picture containing person, table, indoor, food&#10;&#10;Description automatically generated">
            <a:extLst>
              <a:ext uri="{FF2B5EF4-FFF2-40B4-BE49-F238E27FC236}">
                <a16:creationId xmlns:a16="http://schemas.microsoft.com/office/drawing/2014/main" id="{443B7DCF-CD77-480D-99A9-9FD8FE86DB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70547"/>
            <a:ext cx="3099286" cy="3099286"/>
          </a:xfrm>
          <a:prstGeom prst="ellipse">
            <a:avLst/>
          </a:prstGeom>
          <a:ln>
            <a:noFill/>
          </a:ln>
        </p:spPr>
      </p:pic>
      <p:sp>
        <p:nvSpPr>
          <p:cNvPr id="2" name="Text Placeholder 4">
            <a:extLst>
              <a:ext uri="{FF2B5EF4-FFF2-40B4-BE49-F238E27FC236}">
                <a16:creationId xmlns:a16="http://schemas.microsoft.com/office/drawing/2014/main" id="{FD3B4FFF-1D34-BA70-A464-650E0ECC681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D3A5C38-8578-C4D9-9FF4-746B8CE0CD4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456586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ASHPAGE WE 2">
    <p:bg>
      <p:bgPr>
        <a:solidFill>
          <a:schemeClr val="bg1"/>
        </a:solidFill>
        <a:effectLst/>
      </p:bgPr>
    </p:bg>
    <p:spTree>
      <p:nvGrpSpPr>
        <p:cNvPr id="1" name=""/>
        <p:cNvGrpSpPr/>
        <p:nvPr/>
      </p:nvGrpSpPr>
      <p:grpSpPr>
        <a:xfrm>
          <a:off x="0" y="0"/>
          <a:ext cx="0" cy="0"/>
          <a:chOff x="0" y="0"/>
          <a:chExt cx="0" cy="0"/>
        </a:xfrm>
      </p:grpSpPr>
      <p:pic>
        <p:nvPicPr>
          <p:cNvPr id="57" name="Picture 2">
            <a:extLst>
              <a:ext uri="{FF2B5EF4-FFF2-40B4-BE49-F238E27FC236}">
                <a16:creationId xmlns:a16="http://schemas.microsoft.com/office/drawing/2014/main" id="{EEDDF8FE-E60C-4C1E-B6C0-8988D3D76054}"/>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392" y="494278"/>
            <a:ext cx="7282925" cy="636372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604A2C2B-9EE5-4F45-B951-1CD0A801AF1D}"/>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299" b="99485" l="0" r="45405">
                        <a14:foregroundMark x1="17568" y1="3299" x2="24775" y2="15979"/>
                        <a14:foregroundMark x1="9550" y1="38454" x2="23604" y2="78144"/>
                        <a14:foregroundMark x1="23604" y1="78144" x2="37748" y2="99485"/>
                        <a14:foregroundMark x1="36757" y1="38041" x2="1081" y2="93299"/>
                        <a14:foregroundMark x1="7387" y1="39897" x2="631" y2="43402"/>
                        <a14:foregroundMark x1="631" y1="43402" x2="0" y2="44948"/>
                        <a14:foregroundMark x1="40360" y1="48454" x2="45405" y2="65464"/>
                        <a14:foregroundMark x1="34595" y1="70722" x2="35766" y2="82784"/>
                        <a14:foregroundMark x1="9730" y1="94742" x2="13423" y2="98866"/>
                        <a14:foregroundMark x1="13784" y1="14845" x2="23153" y2="22062"/>
                        <a14:foregroundMark x1="21712" y1="15567" x2="23243" y2="22371"/>
                        <a14:foregroundMark x1="12613" y1="14845" x2="15495" y2="21856"/>
                        <a14:foregroundMark x1="9009" y1="18557" x2="9550" y2="20412"/>
                        <a14:foregroundMark x1="10270" y1="23711" x2="10541" y2="24948"/>
                        <a14:foregroundMark x1="10028" y1="25361" x2="10090" y2="26495"/>
                        <a14:foregroundMark x1="10000" y1="24845" x2="10028" y2="25361"/>
                        <a14:foregroundMark x1="10541" y1="27010" x2="11622" y2="26701"/>
                        <a14:foregroundMark x1="25225" y1="24845" x2="25676" y2="26289"/>
                        <a14:foregroundMark x1="25315" y1="26082" x2="25045" y2="27320"/>
                        <a14:foregroundMark x1="11351" y1="25258" x2="11351" y2="25258"/>
                        <a14:foregroundMark x1="12162" y1="34845" x2="12162" y2="34845"/>
                        <a14:foregroundMark x1="12703" y1="34536" x2="12703" y2="34536"/>
                        <a14:foregroundMark x1="10360" y1="37835" x2="10360" y2="37835"/>
                        <a14:foregroundMark x1="27658" y1="36392" x2="27658" y2="36392"/>
                        <a14:backgroundMark x1="31171" y1="26392" x2="42342" y2="31959"/>
                        <a14:backgroundMark x1="30090" y1="35258" x2="30090" y2="35258"/>
                        <a14:backgroundMark x1="33153" y1="35670" x2="36757" y2="36495"/>
                        <a14:backgroundMark x1="25045" y1="26186" x2="25045" y2="26186"/>
                        <a14:backgroundMark x1="9820" y1="23711" x2="9820" y2="23711"/>
                        <a14:backgroundMark x1="10901" y1="25361" x2="10901" y2="25361"/>
                        <a14:backgroundMark x1="10721" y1="24845" x2="10721" y2="24845"/>
                        <a14:backgroundMark x1="12072" y1="34845" x2="12072" y2="34845"/>
                      </a14:backgroundRemoval>
                    </a14:imgEffect>
                  </a14:imgLayer>
                </a14:imgProps>
              </a:ext>
              <a:ext uri="{28A0092B-C50C-407E-A947-70E740481C1C}">
                <a14:useLocalDpi xmlns:a14="http://schemas.microsoft.com/office/drawing/2010/main" val="0"/>
              </a:ext>
            </a:extLst>
          </a:blip>
          <a:srcRect t="2565" r="53566"/>
          <a:stretch/>
        </p:blipFill>
        <p:spPr bwMode="auto">
          <a:xfrm>
            <a:off x="-9046" y="691342"/>
            <a:ext cx="3368018" cy="617527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96000" y="233950"/>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1D03042D-74C9-0C53-68D0-2FCC7BB4EA7A}"/>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5F1B8B58-E52A-6875-0B79-C2E44AE8DFD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49230B70-AAF6-278A-1F4E-9B78EB86BEE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8AE1592-2DBF-420C-60F8-32D8DE336042}"/>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A4B2CAE1-C41B-4F75-42AE-8CE173B8BBF9}"/>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9388570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PAGE IMAGE BOTTOM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42" descr="A group of people posing for a photo&#10;&#10;Description automatically generated with medium confidence">
            <a:extLst>
              <a:ext uri="{FF2B5EF4-FFF2-40B4-BE49-F238E27FC236}">
                <a16:creationId xmlns:a16="http://schemas.microsoft.com/office/drawing/2014/main" id="{D9C6C32F-A67D-43A4-B6A2-6C535769DB2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0075" y="3887199"/>
            <a:ext cx="3099286" cy="3099286"/>
          </a:xfrm>
          <a:prstGeom prst="ellipse">
            <a:avLst/>
          </a:prstGeom>
          <a:ln>
            <a:noFill/>
          </a:ln>
        </p:spPr>
      </p:pic>
      <p:sp>
        <p:nvSpPr>
          <p:cNvPr id="2" name="Text Placeholder 4">
            <a:extLst>
              <a:ext uri="{FF2B5EF4-FFF2-40B4-BE49-F238E27FC236}">
                <a16:creationId xmlns:a16="http://schemas.microsoft.com/office/drawing/2014/main" id="{15A8739F-D054-0CC8-A201-3456FD33FADE}"/>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D7B2510-AE7E-C8BC-A823-02B0537D903C}"/>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2060994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PAGE IMAGE BOTTOM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7">
            <a:extLst>
              <a:ext uri="{FF2B5EF4-FFF2-40B4-BE49-F238E27FC236}">
                <a16:creationId xmlns:a16="http://schemas.microsoft.com/office/drawing/2014/main" id="{8A194EB5-160B-44AE-8242-487F6D92BCF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3447" y="3875672"/>
            <a:ext cx="3099286" cy="3099286"/>
          </a:xfrm>
          <a:prstGeom prst="ellipse">
            <a:avLst/>
          </a:prstGeom>
          <a:ln>
            <a:noFill/>
          </a:ln>
        </p:spPr>
      </p:pic>
      <p:sp>
        <p:nvSpPr>
          <p:cNvPr id="2" name="Text Placeholder 4">
            <a:extLst>
              <a:ext uri="{FF2B5EF4-FFF2-40B4-BE49-F238E27FC236}">
                <a16:creationId xmlns:a16="http://schemas.microsoft.com/office/drawing/2014/main" id="{FF68B205-4774-024E-E7C5-5303481928EA}"/>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792BAF5-8700-41EB-C36C-313909E87D9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049091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PAGE IMAGE BOTTOM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32" descr="A picture containing person, young, child, blue&#10;&#10;Description automatically generated">
            <a:extLst>
              <a:ext uri="{FF2B5EF4-FFF2-40B4-BE49-F238E27FC236}">
                <a16:creationId xmlns:a16="http://schemas.microsoft.com/office/drawing/2014/main" id="{C33B0AB1-29FC-48E3-8DBC-E49844E4FF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9957" y="3885372"/>
            <a:ext cx="3099286" cy="3099286"/>
          </a:xfrm>
          <a:prstGeom prst="ellipse">
            <a:avLst/>
          </a:prstGeom>
          <a:ln>
            <a:noFill/>
          </a:ln>
        </p:spPr>
      </p:pic>
      <p:sp>
        <p:nvSpPr>
          <p:cNvPr id="2" name="Text Placeholder 4">
            <a:extLst>
              <a:ext uri="{FF2B5EF4-FFF2-40B4-BE49-F238E27FC236}">
                <a16:creationId xmlns:a16="http://schemas.microsoft.com/office/drawing/2014/main" id="{5EC48B3A-8F72-C0A9-D930-0A754B058E6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34AA60E-6173-AA41-D4D7-D613E81DC2BD}"/>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5841227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PAGE IMAGE BOTTOM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27">
            <a:extLst>
              <a:ext uri="{FF2B5EF4-FFF2-40B4-BE49-F238E27FC236}">
                <a16:creationId xmlns:a16="http://schemas.microsoft.com/office/drawing/2014/main" id="{0398783E-4B82-4673-B152-445A093BBF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1559" y="3904500"/>
            <a:ext cx="3099286" cy="3099286"/>
          </a:xfrm>
          <a:prstGeom prst="ellipse">
            <a:avLst/>
          </a:prstGeom>
          <a:ln>
            <a:noFill/>
          </a:ln>
        </p:spPr>
      </p:pic>
      <p:sp>
        <p:nvSpPr>
          <p:cNvPr id="2" name="Text Placeholder 4">
            <a:extLst>
              <a:ext uri="{FF2B5EF4-FFF2-40B4-BE49-F238E27FC236}">
                <a16:creationId xmlns:a16="http://schemas.microsoft.com/office/drawing/2014/main" id="{2218BBCE-CD97-AB48-79DE-93D512B42611}"/>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4B466B3-7A0F-3E97-89A0-706EE36887B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7871641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PAGE IMAGE BOTTOM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0">
            <a:extLst>
              <a:ext uri="{FF2B5EF4-FFF2-40B4-BE49-F238E27FC236}">
                <a16:creationId xmlns:a16="http://schemas.microsoft.com/office/drawing/2014/main" id="{CF089419-B63A-448E-8C4B-1756A680E69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87847" y="3870353"/>
            <a:ext cx="3099286" cy="3099286"/>
          </a:xfrm>
          <a:prstGeom prst="ellipse">
            <a:avLst/>
          </a:prstGeom>
          <a:ln>
            <a:noFill/>
          </a:ln>
        </p:spPr>
      </p:pic>
      <p:sp>
        <p:nvSpPr>
          <p:cNvPr id="2" name="Text Placeholder 4">
            <a:extLst>
              <a:ext uri="{FF2B5EF4-FFF2-40B4-BE49-F238E27FC236}">
                <a16:creationId xmlns:a16="http://schemas.microsoft.com/office/drawing/2014/main" id="{E42BD090-D304-DCE1-AECC-CCFFF6C98771}"/>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77AA62C-C3DD-9A07-AEA6-0D05343C5D2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4381529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PAGE IMAGE BOTTOM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5">
            <a:extLst>
              <a:ext uri="{FF2B5EF4-FFF2-40B4-BE49-F238E27FC236}">
                <a16:creationId xmlns:a16="http://schemas.microsoft.com/office/drawing/2014/main" id="{6A6263D6-E1C9-4223-935E-C582236E2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2047" y="3883820"/>
            <a:ext cx="3099286" cy="3099286"/>
          </a:xfrm>
          <a:prstGeom prst="ellipse">
            <a:avLst/>
          </a:prstGeom>
          <a:ln>
            <a:noFill/>
          </a:ln>
        </p:spPr>
      </p:pic>
      <p:sp>
        <p:nvSpPr>
          <p:cNvPr id="2" name="Text Placeholder 4">
            <a:extLst>
              <a:ext uri="{FF2B5EF4-FFF2-40B4-BE49-F238E27FC236}">
                <a16:creationId xmlns:a16="http://schemas.microsoft.com/office/drawing/2014/main" id="{2C1CFFE2-D345-6580-3818-B8EE1BDD471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B82F8D4-3BFE-1BF0-7EA9-1C5057D7150B}"/>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193417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PAGE IMAGE BOTTOM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300">
            <a:extLst>
              <a:ext uri="{FF2B5EF4-FFF2-40B4-BE49-F238E27FC236}">
                <a16:creationId xmlns:a16="http://schemas.microsoft.com/office/drawing/2014/main" id="{004082D3-6256-49BE-972C-722630C460D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91675"/>
            <a:ext cx="3099286" cy="3099286"/>
          </a:xfrm>
          <a:prstGeom prst="ellipse">
            <a:avLst/>
          </a:prstGeom>
          <a:ln>
            <a:noFill/>
          </a:ln>
        </p:spPr>
      </p:pic>
      <p:sp>
        <p:nvSpPr>
          <p:cNvPr id="2" name="Text Placeholder 4">
            <a:extLst>
              <a:ext uri="{FF2B5EF4-FFF2-40B4-BE49-F238E27FC236}">
                <a16:creationId xmlns:a16="http://schemas.microsoft.com/office/drawing/2014/main" id="{AA34919F-E5AA-59C1-F491-16FB517EFF34}"/>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488C9CF-8C9A-3611-6233-3351F41EDA1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44152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PAGE IMAGE BOTTOM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05">
            <a:extLst>
              <a:ext uri="{FF2B5EF4-FFF2-40B4-BE49-F238E27FC236}">
                <a16:creationId xmlns:a16="http://schemas.microsoft.com/office/drawing/2014/main" id="{370EA77C-B79A-4A82-8FD7-2A64BA03F45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902654"/>
            <a:ext cx="3099286" cy="3099286"/>
          </a:xfrm>
          <a:prstGeom prst="ellipse">
            <a:avLst/>
          </a:prstGeom>
          <a:ln>
            <a:noFill/>
          </a:ln>
        </p:spPr>
      </p:pic>
      <p:sp>
        <p:nvSpPr>
          <p:cNvPr id="2" name="Text Placeholder 4">
            <a:extLst>
              <a:ext uri="{FF2B5EF4-FFF2-40B4-BE49-F238E27FC236}">
                <a16:creationId xmlns:a16="http://schemas.microsoft.com/office/drawing/2014/main" id="{AFEB6B1D-9CCE-9114-2420-B409480C0DA6}"/>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C2256C4-875B-8A61-946C-A4E491722DBE}"/>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5208383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PAGE IMAGE BOTTOM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 descr="A picture containing group, outdoor object, several&#10;&#10;Description automatically generated">
            <a:extLst>
              <a:ext uri="{FF2B5EF4-FFF2-40B4-BE49-F238E27FC236}">
                <a16:creationId xmlns:a16="http://schemas.microsoft.com/office/drawing/2014/main" id="{DF153A97-3AF5-4135-AE2D-80910CB0D75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9221" y="3894028"/>
            <a:ext cx="3099286" cy="3099286"/>
          </a:xfrm>
          <a:prstGeom prst="ellipse">
            <a:avLst/>
          </a:prstGeom>
          <a:ln>
            <a:noFill/>
          </a:ln>
        </p:spPr>
      </p:pic>
      <p:sp>
        <p:nvSpPr>
          <p:cNvPr id="2" name="Text Placeholder 4">
            <a:extLst>
              <a:ext uri="{FF2B5EF4-FFF2-40B4-BE49-F238E27FC236}">
                <a16:creationId xmlns:a16="http://schemas.microsoft.com/office/drawing/2014/main" id="{4B9BE4A9-B99A-3A55-7CCF-614213AE887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BE05F1D-3C08-7378-CBCE-829A11336A1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4116931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PAGE IMAGE BOTTOM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1" name="Picture Placeholder 22">
            <a:extLst>
              <a:ext uri="{FF2B5EF4-FFF2-40B4-BE49-F238E27FC236}">
                <a16:creationId xmlns:a16="http://schemas.microsoft.com/office/drawing/2014/main" id="{F62FB39F-C8B6-4D33-9D64-CD081FEA6D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7566" y="3875672"/>
            <a:ext cx="3099286" cy="3099286"/>
          </a:xfrm>
          <a:prstGeom prst="ellipse">
            <a:avLst/>
          </a:prstGeom>
          <a:ln>
            <a:noFill/>
          </a:ln>
        </p:spPr>
      </p:pic>
      <p:sp>
        <p:nvSpPr>
          <p:cNvPr id="2" name="Text Placeholder 4">
            <a:extLst>
              <a:ext uri="{FF2B5EF4-FFF2-40B4-BE49-F238E27FC236}">
                <a16:creationId xmlns:a16="http://schemas.microsoft.com/office/drawing/2014/main" id="{C0930490-0BC2-6968-37CE-ACA2A21039C4}"/>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8246E1-D2A4-0F23-3426-BDE379917A14}"/>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86881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ASHPAGE WE 3">
    <p:bg>
      <p:bgPr>
        <a:solidFill>
          <a:schemeClr val="bg1"/>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901E77CF-198E-4E69-A319-BCD113DCD8E2}"/>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4501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7BC4F56E-5262-406E-9578-4A2516DA62DD}"/>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9127" b="99688" l="96" r="38182">
                        <a14:foregroundMark x1="10622" y1="19127" x2="18182" y2="28586"/>
                        <a14:foregroundMark x1="17432" y1="19975" x2="22070" y2="29665"/>
                        <a14:foregroundMark x1="12057" y1="25572" x2="96" y2="49688"/>
                        <a14:foregroundMark x1="13110" y1="29210" x2="13397" y2="33472"/>
                        <a14:foregroundMark x1="27870" y1="30497" x2="24593" y2="74428"/>
                        <a14:foregroundMark x1="24593" y1="74428" x2="24593" y2="74428"/>
                        <a14:foregroundMark x1="31770" y1="48649" x2="33876" y2="63825"/>
                        <a14:foregroundMark x1="33876" y1="63825" x2="33493" y2="67048"/>
                        <a14:foregroundMark x1="29569" y1="58316" x2="28134" y2="69335"/>
                        <a14:foregroundMark x1="28134" y1="68295" x2="24880" y2="78067"/>
                        <a14:foregroundMark x1="24306" y1="71830" x2="23062" y2="88150"/>
                        <a14:foregroundMark x1="23062" y1="88150" x2="25167" y2="92827"/>
                        <a14:foregroundMark x1="11005" y1="84304" x2="6603" y2="96258"/>
                        <a14:foregroundMark x1="6603" y1="96258" x2="3158" y2="99792"/>
                        <a14:foregroundMark x1="4498" y1="81809" x2="3158" y2="96778"/>
                        <a14:foregroundMark x1="3158" y1="96778" x2="2871" y2="97505"/>
                        <a14:foregroundMark x1="9856" y1="94699" x2="19426" y2="98441"/>
                        <a14:foregroundMark x1="23349" y1="90333" x2="26411" y2="99896"/>
                        <a14:foregroundMark x1="24976" y1="92620" x2="28134" y2="99272"/>
                        <a14:foregroundMark x1="28134" y1="99272" x2="28134" y2="99272"/>
                        <a14:foregroundMark x1="27560" y1="85655" x2="27560" y2="85655"/>
                        <a14:foregroundMark x1="26603" y1="93555" x2="29187" y2="99896"/>
                        <a14:foregroundMark x1="34737" y1="33992" x2="38086" y2="35863"/>
                        <a14:foregroundMark x1="38182" y1="33160" x2="37608" y2="35551"/>
                        <a14:foregroundMark x1="36364" y1="32744" x2="37321" y2="33160"/>
                        <a14:foregroundMark x1="28038" y1="83992" x2="28038" y2="83992"/>
                        <a14:foregroundMark x1="28325" y1="68295" x2="31579" y2="72661"/>
                        <a14:backgroundMark x1="4402" y1="19751" x2="4211" y2="26403"/>
                        <a14:backgroundMark x1="15311" y1="18711" x2="17608" y2="19751"/>
                        <a14:backgroundMark x1="26316" y1="26299" x2="26603" y2="28690"/>
                        <a14:backgroundMark x1="26411" y1="27131" x2="23158" y2="30977"/>
                        <a14:backgroundMark x1="27368" y1="29210" x2="30144" y2="28690"/>
                        <a14:backgroundMark x1="20861" y1="34927" x2="20861" y2="34927"/>
                        <a14:backgroundMark x1="22105" y1="31913" x2="22105" y2="31913"/>
                        <a14:backgroundMark x1="4211" y1="30353" x2="4211" y2="30353"/>
                        <a14:backgroundMark x1="4306" y1="27651" x2="4306" y2="27651"/>
                        <a14:backgroundMark x1="4976" y1="25364" x2="4976" y2="27027"/>
                      </a14:backgroundRemoval>
                    </a14:imgEffect>
                  </a14:imgLayer>
                </a14:imgProps>
              </a:ext>
              <a:ext uri="{28A0092B-C50C-407E-A947-70E740481C1C}">
                <a14:useLocalDpi xmlns:a14="http://schemas.microsoft.com/office/drawing/2010/main" val="0"/>
              </a:ext>
            </a:extLst>
          </a:blip>
          <a:srcRect t="17576" r="59636"/>
          <a:stretch/>
        </p:blipFill>
        <p:spPr bwMode="auto">
          <a:xfrm>
            <a:off x="0" y="1205379"/>
            <a:ext cx="3007187" cy="56526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770F7FF-0625-B12E-257B-1BDCED4BF2E6}"/>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01D4999B-35F2-0D48-3FD0-C08D5564012F}"/>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E705D6A0-A45C-E3CD-CAB9-EA0E2843D9F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8EAEDAF-62EC-4ED1-9B66-BECBC8D08944}"/>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F313BD0B-B28E-82A6-F0C4-CD58B9BE727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9775477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PAGE IMAGE BOTTOM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13">
            <a:extLst>
              <a:ext uri="{FF2B5EF4-FFF2-40B4-BE49-F238E27FC236}">
                <a16:creationId xmlns:a16="http://schemas.microsoft.com/office/drawing/2014/main" id="{292C2F56-A34B-4793-B59C-B129297043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80025"/>
            <a:ext cx="3099286" cy="3099286"/>
          </a:xfrm>
          <a:prstGeom prst="ellipse">
            <a:avLst/>
          </a:prstGeom>
          <a:ln>
            <a:noFill/>
          </a:ln>
        </p:spPr>
      </p:pic>
      <p:sp>
        <p:nvSpPr>
          <p:cNvPr id="2" name="Text Placeholder 4">
            <a:extLst>
              <a:ext uri="{FF2B5EF4-FFF2-40B4-BE49-F238E27FC236}">
                <a16:creationId xmlns:a16="http://schemas.microsoft.com/office/drawing/2014/main" id="{94F970AB-A9F6-6011-A348-35C590E8EBC7}"/>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92DD26A-226B-FE67-1461-2D84E5786DD9}"/>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6353154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PAGE IMAGE BOTTOM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ED89E262-300D-4549-BAE2-2AA6359CD5BD}"/>
              </a:ext>
            </a:extLst>
          </p:cNvPr>
          <p:cNvSpPr>
            <a:spLocks noChangeAspect="1"/>
          </p:cNvSpPr>
          <p:nvPr userDrawn="1"/>
        </p:nvSpPr>
        <p:spPr>
          <a:xfrm>
            <a:off x="-469834" y="3613201"/>
            <a:ext cx="3670234" cy="3634844"/>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C4992B1-A515-422C-BCE7-79A9CFA6DBB3}"/>
              </a:ext>
            </a:extLst>
          </p:cNvPr>
          <p:cNvSpPr>
            <a:spLocks noChangeAspect="1"/>
          </p:cNvSpPr>
          <p:nvPr userDrawn="1"/>
        </p:nvSpPr>
        <p:spPr>
          <a:xfrm>
            <a:off x="-382986" y="3705513"/>
            <a:ext cx="3480351" cy="3446791"/>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2" name="Picture Placeholder 2">
            <a:extLst>
              <a:ext uri="{FF2B5EF4-FFF2-40B4-BE49-F238E27FC236}">
                <a16:creationId xmlns:a16="http://schemas.microsoft.com/office/drawing/2014/main" id="{7AA559C4-4573-4F1C-BFBA-03E905C28250}"/>
              </a:ext>
            </a:extLst>
          </p:cNvPr>
          <p:cNvSpPr>
            <a:spLocks noGrp="1" noChangeAspect="1"/>
          </p:cNvSpPr>
          <p:nvPr>
            <p:ph type="pic" sz="quarter" idx="10"/>
          </p:nvPr>
        </p:nvSpPr>
        <p:spPr>
          <a:xfrm>
            <a:off x="-200536" y="3878440"/>
            <a:ext cx="3099286" cy="3099286"/>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4D9D7510-67E6-ADEE-8F06-3694F353363B}"/>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4BD9077-1269-5F18-7CF2-27E783033F3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339999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AGE IMAGE BOTTOM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8" name="Picture Placeholder 48">
            <a:extLst>
              <a:ext uri="{FF2B5EF4-FFF2-40B4-BE49-F238E27FC236}">
                <a16:creationId xmlns:a16="http://schemas.microsoft.com/office/drawing/2014/main" id="{D7211C63-4E70-45D7-BCDB-296FA0825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5287" y="3860828"/>
            <a:ext cx="3135814" cy="3135814"/>
          </a:xfrm>
          <a:prstGeom prst="ellipse">
            <a:avLst/>
          </a:prstGeom>
          <a:ln>
            <a:noFill/>
          </a:ln>
        </p:spPr>
      </p:pic>
      <p:sp>
        <p:nvSpPr>
          <p:cNvPr id="2" name="Text Placeholder 4">
            <a:extLst>
              <a:ext uri="{FF2B5EF4-FFF2-40B4-BE49-F238E27FC236}">
                <a16:creationId xmlns:a16="http://schemas.microsoft.com/office/drawing/2014/main" id="{8FB74730-EACE-9ACD-B68F-7CBB63F63F0F}"/>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8C5DABA-AABD-8BC0-379F-6191FEFC8BF9}"/>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1650672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PAGE IMAGE BOTTOM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5">
            <a:extLst>
              <a:ext uri="{FF2B5EF4-FFF2-40B4-BE49-F238E27FC236}">
                <a16:creationId xmlns:a16="http://schemas.microsoft.com/office/drawing/2014/main" id="{9E995809-9436-4F21-A643-F2954160E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2557" y="3875512"/>
            <a:ext cx="3139355" cy="3139355"/>
          </a:xfrm>
          <a:prstGeom prst="ellipse">
            <a:avLst/>
          </a:prstGeom>
          <a:ln>
            <a:noFill/>
          </a:ln>
        </p:spPr>
      </p:pic>
      <p:sp>
        <p:nvSpPr>
          <p:cNvPr id="2" name="Text Placeholder 4">
            <a:extLst>
              <a:ext uri="{FF2B5EF4-FFF2-40B4-BE49-F238E27FC236}">
                <a16:creationId xmlns:a16="http://schemas.microsoft.com/office/drawing/2014/main" id="{4C50A551-1129-64D1-73AC-7ACF792F9B5E}"/>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35512741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PAGE IMAGE BOTTOM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6">
            <a:extLst>
              <a:ext uri="{FF2B5EF4-FFF2-40B4-BE49-F238E27FC236}">
                <a16:creationId xmlns:a16="http://schemas.microsoft.com/office/drawing/2014/main" id="{AF17F5CB-58E7-4AA1-BB08-68518425C2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0748" y="3871619"/>
            <a:ext cx="3139355" cy="3139355"/>
          </a:xfrm>
          <a:prstGeom prst="ellipse">
            <a:avLst/>
          </a:prstGeom>
          <a:ln>
            <a:noFill/>
          </a:ln>
        </p:spPr>
      </p:pic>
      <p:sp>
        <p:nvSpPr>
          <p:cNvPr id="2" name="Text Placeholder 4">
            <a:extLst>
              <a:ext uri="{FF2B5EF4-FFF2-40B4-BE49-F238E27FC236}">
                <a16:creationId xmlns:a16="http://schemas.microsoft.com/office/drawing/2014/main" id="{C5E28783-6439-657D-952D-806C92FD6B74}"/>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6F3F1FB-0DFF-BAF9-121E-52C00D44891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758907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PAGE IMAGE BOTTOM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53">
            <a:extLst>
              <a:ext uri="{FF2B5EF4-FFF2-40B4-BE49-F238E27FC236}">
                <a16:creationId xmlns:a16="http://schemas.microsoft.com/office/drawing/2014/main" id="{1E7961BA-891F-4CAC-99A0-C091EA5DF03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774"/>
          <a:stretch/>
        </p:blipFill>
        <p:spPr>
          <a:xfrm>
            <a:off x="-193671" y="3870993"/>
            <a:ext cx="3117846" cy="3117846"/>
          </a:xfrm>
          <a:prstGeom prst="ellipse">
            <a:avLst/>
          </a:prstGeom>
          <a:ln>
            <a:noFill/>
          </a:ln>
        </p:spPr>
      </p:pic>
      <p:sp>
        <p:nvSpPr>
          <p:cNvPr id="2" name="Text Placeholder 4">
            <a:extLst>
              <a:ext uri="{FF2B5EF4-FFF2-40B4-BE49-F238E27FC236}">
                <a16:creationId xmlns:a16="http://schemas.microsoft.com/office/drawing/2014/main" id="{16882CBF-992B-06F1-ACA2-99C833370FFA}"/>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219653384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PAGE IMAGE BOTTOM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10" descr="A group of people on a street&#10;&#10;Description automatically generated with low confidence">
            <a:extLst>
              <a:ext uri="{FF2B5EF4-FFF2-40B4-BE49-F238E27FC236}">
                <a16:creationId xmlns:a16="http://schemas.microsoft.com/office/drawing/2014/main" id="{225F5785-36E8-4012-ADBF-807C1A3DB2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3302" y="3874079"/>
            <a:ext cx="3099286" cy="3099286"/>
          </a:xfrm>
          <a:prstGeom prst="ellipse">
            <a:avLst/>
          </a:prstGeom>
          <a:ln>
            <a:noFill/>
          </a:ln>
        </p:spPr>
      </p:pic>
      <p:sp>
        <p:nvSpPr>
          <p:cNvPr id="2" name="Text Placeholder 4">
            <a:extLst>
              <a:ext uri="{FF2B5EF4-FFF2-40B4-BE49-F238E27FC236}">
                <a16:creationId xmlns:a16="http://schemas.microsoft.com/office/drawing/2014/main" id="{07B43CEA-775B-1611-A357-F459FD5B4E26}"/>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31BECA2-BDBC-A984-BA4B-F87386D0233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4477495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PAGE IMAGE BOTTOM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00" descr="A picture containing person&#10;&#10;Description automatically generated">
            <a:extLst>
              <a:ext uri="{FF2B5EF4-FFF2-40B4-BE49-F238E27FC236}">
                <a16:creationId xmlns:a16="http://schemas.microsoft.com/office/drawing/2014/main" id="{B11D5694-5DEE-4DB6-BAD5-386B1EF1DC5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1572" y="3887946"/>
            <a:ext cx="3099286" cy="3099286"/>
          </a:xfrm>
          <a:prstGeom prst="ellipse">
            <a:avLst/>
          </a:prstGeom>
          <a:ln>
            <a:noFill/>
          </a:ln>
        </p:spPr>
      </p:pic>
      <p:sp>
        <p:nvSpPr>
          <p:cNvPr id="2" name="Text Placeholder 4">
            <a:extLst>
              <a:ext uri="{FF2B5EF4-FFF2-40B4-BE49-F238E27FC236}">
                <a16:creationId xmlns:a16="http://schemas.microsoft.com/office/drawing/2014/main" id="{1C173192-5336-0151-0150-227934D1A49B}"/>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CF2E74B-5FFF-520A-37E3-8AC223F8348B}"/>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7708174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PAGE IMAGE BOTTOM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115">
            <a:extLst>
              <a:ext uri="{FF2B5EF4-FFF2-40B4-BE49-F238E27FC236}">
                <a16:creationId xmlns:a16="http://schemas.microsoft.com/office/drawing/2014/main" id="{4AB86334-66A0-49E3-9BC7-D268DD2B8C6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236037" y="3883114"/>
            <a:ext cx="3188242" cy="3099286"/>
          </a:xfrm>
          <a:prstGeom prst="ellipse">
            <a:avLst/>
          </a:prstGeom>
          <a:ln>
            <a:noFill/>
          </a:ln>
        </p:spPr>
      </p:pic>
      <p:sp>
        <p:nvSpPr>
          <p:cNvPr id="2" name="Text Placeholder 4">
            <a:extLst>
              <a:ext uri="{FF2B5EF4-FFF2-40B4-BE49-F238E27FC236}">
                <a16:creationId xmlns:a16="http://schemas.microsoft.com/office/drawing/2014/main" id="{2196BBEF-82B4-E3F0-9B57-1EA910B06821}"/>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4B2C77A-489F-8A62-60CB-7D34B8EC8F9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9755500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PAGE IMAGE BOTTOM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05">
            <a:extLst>
              <a:ext uri="{FF2B5EF4-FFF2-40B4-BE49-F238E27FC236}">
                <a16:creationId xmlns:a16="http://schemas.microsoft.com/office/drawing/2014/main" id="{3431807D-63FE-497C-BD67-8A68B9173F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19847395">
            <a:off x="-192047" y="3870546"/>
            <a:ext cx="3099286" cy="3099286"/>
          </a:xfrm>
          <a:prstGeom prst="ellipse">
            <a:avLst/>
          </a:prstGeom>
          <a:ln>
            <a:noFill/>
          </a:ln>
        </p:spPr>
      </p:pic>
      <p:sp>
        <p:nvSpPr>
          <p:cNvPr id="2" name="Text Placeholder 4">
            <a:extLst>
              <a:ext uri="{FF2B5EF4-FFF2-40B4-BE49-F238E27FC236}">
                <a16:creationId xmlns:a16="http://schemas.microsoft.com/office/drawing/2014/main" id="{EA31FA30-15FE-35BA-56FF-B59B64A418D4}"/>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CA61B38-1CB8-200A-9BBA-C0CC27739CD4}"/>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558172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LASHPAGE OTHER 1">
    <p:bg>
      <p:bgPr>
        <a:solidFill>
          <a:schemeClr val="bg1"/>
        </a:solidFill>
        <a:effectLst/>
      </p:bgPr>
    </p:bg>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71BF89A0-1ED4-4B9E-ADA5-5D2253BD0EC4}"/>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38" y="-1"/>
            <a:ext cx="7961613" cy="686239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84ED57AC-5561-7088-384F-1315722D2853}"/>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BEC3F987-47F4-9F68-E2F3-65C1B62671D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C3735B1B-C8E6-D643-75FE-CF4AB03139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85A6A3E-585D-5F39-6D27-AFD9A754EAFE}"/>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EE4E876C-2D80-4CA3-561C-127C77C24C21}"/>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1808025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PAGE IMAGE BOTTOM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59" descr="A group of people posing for the camera&#10;&#10;Description automatically generated">
            <a:extLst>
              <a:ext uri="{FF2B5EF4-FFF2-40B4-BE49-F238E27FC236}">
                <a16:creationId xmlns:a16="http://schemas.microsoft.com/office/drawing/2014/main" id="{8BA5FB57-078F-4B47-AF95-640ACAB77FD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4412" y="3876776"/>
            <a:ext cx="3099286" cy="3099286"/>
          </a:xfrm>
          <a:prstGeom prst="ellipse">
            <a:avLst/>
          </a:prstGeom>
          <a:ln>
            <a:noFill/>
          </a:ln>
        </p:spPr>
      </p:pic>
      <p:sp>
        <p:nvSpPr>
          <p:cNvPr id="2" name="Text Placeholder 4">
            <a:extLst>
              <a:ext uri="{FF2B5EF4-FFF2-40B4-BE49-F238E27FC236}">
                <a16:creationId xmlns:a16="http://schemas.microsoft.com/office/drawing/2014/main" id="{8EE04900-C7BB-816D-AA87-9B597C188912}"/>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EF953B4-E01A-9D42-65BF-4BAA4797F40D}"/>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850219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PAGE IMAGE BOTTOM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68" descr="A picture containing tree, outdoor, person, dancer&#10;&#10;Description automatically generated">
            <a:extLst>
              <a:ext uri="{FF2B5EF4-FFF2-40B4-BE49-F238E27FC236}">
                <a16:creationId xmlns:a16="http://schemas.microsoft.com/office/drawing/2014/main" id="{F711B68A-6DF4-479C-AE44-0AA34B15BBE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6192" y="3885112"/>
            <a:ext cx="3099286" cy="3099286"/>
          </a:xfrm>
          <a:prstGeom prst="ellipse">
            <a:avLst/>
          </a:prstGeom>
          <a:ln>
            <a:noFill/>
          </a:ln>
        </p:spPr>
      </p:pic>
      <p:sp>
        <p:nvSpPr>
          <p:cNvPr id="2" name="Text Placeholder 4">
            <a:extLst>
              <a:ext uri="{FF2B5EF4-FFF2-40B4-BE49-F238E27FC236}">
                <a16:creationId xmlns:a16="http://schemas.microsoft.com/office/drawing/2014/main" id="{FE3FC44C-B20D-AB03-79C6-D86A3E1E0286}"/>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F38AFE2-B4B1-85F3-BC08-A3DFFD369DE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29413422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PAGE IMAGE BOTTOM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49" descr="A person smiling for the camera&#10;&#10;Description automatically generated with low confidence">
            <a:extLst>
              <a:ext uri="{FF2B5EF4-FFF2-40B4-BE49-F238E27FC236}">
                <a16:creationId xmlns:a16="http://schemas.microsoft.com/office/drawing/2014/main" id="{935FA9BF-2295-4B29-BC3E-3C8AF72F39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512"/>
          <a:stretch/>
        </p:blipFill>
        <p:spPr>
          <a:xfrm>
            <a:off x="-191559" y="3880025"/>
            <a:ext cx="3099286" cy="3099286"/>
          </a:xfrm>
          <a:prstGeom prst="ellipse">
            <a:avLst/>
          </a:prstGeom>
          <a:ln>
            <a:noFill/>
          </a:ln>
        </p:spPr>
      </p:pic>
      <p:sp>
        <p:nvSpPr>
          <p:cNvPr id="2" name="Text Placeholder 4">
            <a:extLst>
              <a:ext uri="{FF2B5EF4-FFF2-40B4-BE49-F238E27FC236}">
                <a16:creationId xmlns:a16="http://schemas.microsoft.com/office/drawing/2014/main" id="{4AE82E02-6B0B-A577-B2F2-135213BC524B}"/>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0ED7E53-7CA9-8199-9BE7-A8B81CE06E8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6056079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PAGE IMAGE BOTTOM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54">
            <a:extLst>
              <a:ext uri="{FF2B5EF4-FFF2-40B4-BE49-F238E27FC236}">
                <a16:creationId xmlns:a16="http://schemas.microsoft.com/office/drawing/2014/main" id="{E722BDB4-AFBC-4CF8-9637-2C7A1C096BF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0185" y="3903063"/>
            <a:ext cx="3099286" cy="3099286"/>
          </a:xfrm>
          <a:prstGeom prst="ellipse">
            <a:avLst/>
          </a:prstGeom>
          <a:ln>
            <a:noFill/>
          </a:ln>
        </p:spPr>
      </p:pic>
      <p:sp>
        <p:nvSpPr>
          <p:cNvPr id="2" name="Text Placeholder 4">
            <a:extLst>
              <a:ext uri="{FF2B5EF4-FFF2-40B4-BE49-F238E27FC236}">
                <a16:creationId xmlns:a16="http://schemas.microsoft.com/office/drawing/2014/main" id="{300158F2-B5A0-9EE0-1CE8-CA53150D371A}"/>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C291315-E753-B260-9DA5-9150B4C0ECF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62031009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PAGE IMAGE BOTTOM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3" name="Picture Placeholder 327">
            <a:extLst>
              <a:ext uri="{FF2B5EF4-FFF2-40B4-BE49-F238E27FC236}">
                <a16:creationId xmlns:a16="http://schemas.microsoft.com/office/drawing/2014/main" id="{86EC53AA-B894-44D7-AF2F-06DC7099700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1965" y="3870353"/>
            <a:ext cx="3099286" cy="3099286"/>
          </a:xfrm>
          <a:prstGeom prst="ellipse">
            <a:avLst/>
          </a:prstGeom>
          <a:ln>
            <a:noFill/>
          </a:ln>
        </p:spPr>
      </p:pic>
      <p:sp>
        <p:nvSpPr>
          <p:cNvPr id="2" name="Text Placeholder 4">
            <a:extLst>
              <a:ext uri="{FF2B5EF4-FFF2-40B4-BE49-F238E27FC236}">
                <a16:creationId xmlns:a16="http://schemas.microsoft.com/office/drawing/2014/main" id="{14F483C1-B49C-330F-752A-78787FE57A8C}"/>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EAEEEDF-C83B-0AD1-1C3D-22A5458496D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17947278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PAGE IMAGE BOTTOM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322">
            <a:extLst>
              <a:ext uri="{FF2B5EF4-FFF2-40B4-BE49-F238E27FC236}">
                <a16:creationId xmlns:a16="http://schemas.microsoft.com/office/drawing/2014/main" id="{F0503EE0-A034-4D08-A44B-F3FAD7DB1B7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92047" y="3885112"/>
            <a:ext cx="3099286" cy="3099286"/>
          </a:xfrm>
          <a:prstGeom prst="ellipse">
            <a:avLst/>
          </a:prstGeom>
          <a:ln>
            <a:noFill/>
          </a:ln>
        </p:spPr>
      </p:pic>
      <p:sp>
        <p:nvSpPr>
          <p:cNvPr id="2" name="Text Placeholder 4">
            <a:extLst>
              <a:ext uri="{FF2B5EF4-FFF2-40B4-BE49-F238E27FC236}">
                <a16:creationId xmlns:a16="http://schemas.microsoft.com/office/drawing/2014/main" id="{3C159B47-D0BD-9EFA-DDC5-404E9843B19D}"/>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82DBBF1-0CCA-F150-FCC4-F45C3C72FD0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439911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PAGE IMAGE BOTTOM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312">
            <a:extLst>
              <a:ext uri="{FF2B5EF4-FFF2-40B4-BE49-F238E27FC236}">
                <a16:creationId xmlns:a16="http://schemas.microsoft.com/office/drawing/2014/main" id="{BD24E543-1458-43DD-BFC5-0D7FF1B21DC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91559" y="3886289"/>
            <a:ext cx="3099286" cy="3099286"/>
          </a:xfrm>
          <a:prstGeom prst="ellipse">
            <a:avLst/>
          </a:prstGeom>
          <a:ln>
            <a:noFill/>
          </a:ln>
        </p:spPr>
      </p:pic>
      <p:sp>
        <p:nvSpPr>
          <p:cNvPr id="2" name="Text Placeholder 4">
            <a:extLst>
              <a:ext uri="{FF2B5EF4-FFF2-40B4-BE49-F238E27FC236}">
                <a16:creationId xmlns:a16="http://schemas.microsoft.com/office/drawing/2014/main" id="{9074426F-5955-9658-D480-559C2ED11E30}"/>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8D3E9DA-2457-038D-D6B7-411D3126272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88903399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PAGE IMAGE BOTTOM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317">
            <a:extLst>
              <a:ext uri="{FF2B5EF4-FFF2-40B4-BE49-F238E27FC236}">
                <a16:creationId xmlns:a16="http://schemas.microsoft.com/office/drawing/2014/main" id="{E0B8574E-2138-4BD8-A820-97327E977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0971" y="3902654"/>
            <a:ext cx="3099286" cy="3099286"/>
          </a:xfrm>
          <a:prstGeom prst="ellipse">
            <a:avLst/>
          </a:prstGeom>
          <a:ln>
            <a:noFill/>
          </a:ln>
        </p:spPr>
      </p:pic>
      <p:sp>
        <p:nvSpPr>
          <p:cNvPr id="2" name="Text Placeholder 4">
            <a:extLst>
              <a:ext uri="{FF2B5EF4-FFF2-40B4-BE49-F238E27FC236}">
                <a16:creationId xmlns:a16="http://schemas.microsoft.com/office/drawing/2014/main" id="{21B01A5D-3C4C-DA11-5B02-1B7BD66D2933}"/>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21709277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PAGE IMAGE BOTTOM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3" descr="A picture containing tree, grass, outdoor, mammal&#10;&#10;Description automatically generated">
            <a:extLst>
              <a:ext uri="{FF2B5EF4-FFF2-40B4-BE49-F238E27FC236}">
                <a16:creationId xmlns:a16="http://schemas.microsoft.com/office/drawing/2014/main" id="{29386B9E-0158-4D2E-B90D-4F7D021EE3F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78573"/>
            <a:ext cx="3099286" cy="3099286"/>
          </a:xfrm>
          <a:prstGeom prst="ellipse">
            <a:avLst/>
          </a:prstGeom>
          <a:ln>
            <a:noFill/>
          </a:ln>
        </p:spPr>
      </p:pic>
      <p:sp>
        <p:nvSpPr>
          <p:cNvPr id="2" name="Text Placeholder 4">
            <a:extLst>
              <a:ext uri="{FF2B5EF4-FFF2-40B4-BE49-F238E27FC236}">
                <a16:creationId xmlns:a16="http://schemas.microsoft.com/office/drawing/2014/main" id="{0956700F-9559-0327-1CE1-4336869F0B23}"/>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4" name="Slide Number Placeholder 3">
            <a:extLst>
              <a:ext uri="{FF2B5EF4-FFF2-40B4-BE49-F238E27FC236}">
                <a16:creationId xmlns:a16="http://schemas.microsoft.com/office/drawing/2014/main" id="{ABA81A72-3135-F075-CCE9-5259A32EE8BB}"/>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85382888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PAGE IMAGE BOTTOM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8" descr="A body of water with trees and buildings in the background&#10;&#10;Description automatically generated">
            <a:extLst>
              <a:ext uri="{FF2B5EF4-FFF2-40B4-BE49-F238E27FC236}">
                <a16:creationId xmlns:a16="http://schemas.microsoft.com/office/drawing/2014/main" id="{022707BC-008E-4029-900F-DB8EBCC1B4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2047" y="3885112"/>
            <a:ext cx="3099286" cy="3099286"/>
          </a:xfrm>
          <a:prstGeom prst="ellipse">
            <a:avLst/>
          </a:prstGeom>
          <a:ln>
            <a:noFill/>
          </a:ln>
        </p:spPr>
      </p:pic>
      <p:sp>
        <p:nvSpPr>
          <p:cNvPr id="2" name="Text Placeholder 4">
            <a:extLst>
              <a:ext uri="{FF2B5EF4-FFF2-40B4-BE49-F238E27FC236}">
                <a16:creationId xmlns:a16="http://schemas.microsoft.com/office/drawing/2014/main" id="{C405EF3F-4F6D-83C4-2999-C886731591DE}"/>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35E2609-8B03-1F5E-0F1E-F0594FDE9A3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500544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LASHPAGE OTHER 2">
    <p:bg>
      <p:bgPr>
        <a:solidFill>
          <a:schemeClr val="bg1"/>
        </a:solidFill>
        <a:effectLst/>
      </p:bgPr>
    </p:bg>
    <p:spTree>
      <p:nvGrpSpPr>
        <p:cNvPr id="1" name=""/>
        <p:cNvGrpSpPr/>
        <p:nvPr/>
      </p:nvGrpSpPr>
      <p:grpSpPr>
        <a:xfrm>
          <a:off x="0" y="0"/>
          <a:ext cx="0" cy="0"/>
          <a:chOff x="0" y="0"/>
          <a:chExt cx="0" cy="0"/>
        </a:xfrm>
      </p:grpSpPr>
      <p:pic>
        <p:nvPicPr>
          <p:cNvPr id="14338" name="Picture 2">
            <a:extLst>
              <a:ext uri="{FF2B5EF4-FFF2-40B4-BE49-F238E27FC236}">
                <a16:creationId xmlns:a16="http://schemas.microsoft.com/office/drawing/2014/main" id="{2537D922-E4E8-49DC-B9E7-B6F010A5013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6787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91A12299-FFD0-456E-A436-9898388F9DD4}"/>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0144" b="82297" l="107" r="62073">
                        <a14:foregroundMark x1="107" y1="47608" x2="1709" y2="56459"/>
                        <a14:foregroundMark x1="12738" y1="64682" x2="43590" y2="75957"/>
                        <a14:foregroundMark x1="2350" y1="60885" x2="4250" y2="61579"/>
                        <a14:foregroundMark x1="43590" y1="75957" x2="56517" y2="78230"/>
                        <a14:foregroundMark x1="5401" y1="64408" x2="13248" y2="82297"/>
                        <a14:foregroundMark x1="37607" y1="30263" x2="39957" y2="35526"/>
                        <a14:foregroundMark x1="58761" y1="38517" x2="58226" y2="41986"/>
                        <a14:foregroundMark x1="58994" y1="48565" x2="58974" y2="49880"/>
                        <a14:foregroundMark x1="59025" y1="46522" x2="59019" y2="46890"/>
                        <a14:foregroundMark x1="59081" y1="42823" x2="59062" y2="44106"/>
                        <a14:foregroundMark x1="60897" y1="52273" x2="60897" y2="58732"/>
                        <a14:foregroundMark x1="62073" y1="66148" x2="55769" y2="75239"/>
                        <a14:foregroundMark x1="55769" y1="75239" x2="55342" y2="75598"/>
                        <a14:foregroundMark x1="19017" y1="60287" x2="26068" y2="60526"/>
                        <a14:foregroundMark x1="26068" y1="60526" x2="35043" y2="60167"/>
                        <a14:foregroundMark x1="35043" y1="60167" x2="35470" y2="60048"/>
                        <a14:backgroundMark x1="3526" y1="48565" x2="6197" y2="57536"/>
                        <a14:backgroundMark x1="50962" y1="54067" x2="50855" y2="64952"/>
                        <a14:backgroundMark x1="50855" y1="64952" x2="50855" y2="64952"/>
                        <a14:backgroundMark x1="58761" y1="44019" x2="58226" y2="46292"/>
                        <a14:backgroundMark x1="58761" y1="46651" x2="58761" y2="46651"/>
                        <a14:backgroundMark x1="58761" y1="46890" x2="58761" y2="48565"/>
                        <a14:backgroundMark x1="534" y1="62919" x2="2350" y2="64833"/>
                        <a14:backgroundMark x1="4487" y1="63278" x2="5662" y2="64115"/>
                        <a14:backgroundMark x1="4060" y1="62560" x2="5342" y2="62679"/>
                        <a14:backgroundMark x1="5449" y1="64593" x2="5449" y2="64593"/>
                        <a14:backgroundMark x1="5983" y1="62201" x2="5449" y2="64474"/>
                        <a14:backgroundMark x1="6624" y1="62560" x2="11432" y2="63995"/>
                        <a14:backgroundMark x1="12714" y1="62201" x2="13782" y2="63995"/>
                        <a14:backgroundMark x1="14850" y1="63038" x2="20513" y2="63158"/>
                        <a14:backgroundMark x1="17968" y1="62097" x2="19444" y2="62201"/>
                        <a14:backgroundMark x1="21304" y1="62105" x2="21154" y2="62440"/>
                        <a14:backgroundMark x1="22543" y1="62081" x2="23397" y2="62799"/>
                        <a14:backgroundMark x1="26380" y1="62202" x2="26923" y2="63158"/>
                        <a14:backgroundMark x1="25852" y1="62259" x2="27671" y2="63278"/>
                        <a14:backgroundMark x1="29292" y1="62086" x2="30449" y2="62919"/>
                        <a14:backgroundMark x1="33883" y1="62253" x2="35363" y2="63038"/>
                        <a14:backgroundMark x1="34081" y1="63278" x2="35256" y2="63278"/>
                        <a14:backgroundMark x1="31554" y1="61996" x2="32372" y2="63278"/>
                        <a14:backgroundMark x1="31410" y1="62560" x2="31303" y2="63278"/>
                        <a14:backgroundMark x1="29382" y1="58705" x2="27671" y2="58254"/>
                        <a14:backgroundMark x1="38034" y1="57656" x2="36218" y2="58134"/>
                        <a14:backgroundMark x1="33120" y1="57416" x2="33120" y2="57416"/>
                        <a14:backgroundMark x1="47543" y1="65789" x2="48825" y2="68301"/>
                        <a14:backgroundMark x1="60791" y1="66148" x2="60791" y2="66148"/>
                        <a14:backgroundMark x1="40705" y1="65909" x2="41667" y2="67464"/>
                      </a14:backgroundRemoval>
                    </a14:imgEffect>
                  </a14:imgLayer>
                </a14:imgProps>
              </a:ext>
              <a:ext uri="{28A0092B-C50C-407E-A947-70E740481C1C}">
                <a14:useLocalDpi xmlns:a14="http://schemas.microsoft.com/office/drawing/2010/main" val="0"/>
              </a:ext>
            </a:extLst>
          </a:blip>
          <a:srcRect t="29007" r="33283" b="16293"/>
          <a:stretch/>
        </p:blipFill>
        <p:spPr bwMode="auto">
          <a:xfrm>
            <a:off x="1" y="1989252"/>
            <a:ext cx="5123072" cy="375135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760D1675-8137-6214-357A-F9783E04B5FC}"/>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AD720CA5-70BF-AB0B-4B6D-4B8E63BC4F9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1AFC8E44-B5C7-3A6C-12AE-7760B55DB79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7DADCCAD-8B89-28C7-E260-5D4CDCDCD202}"/>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7E1DEC58-1EC1-7704-5406-57AB6D6B7178}"/>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9049985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PAGE IMAGE BOTTOM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83" descr="A bridge over a river with a building in the background&#10;&#10;Description automatically generated with low confidence">
            <a:extLst>
              <a:ext uri="{FF2B5EF4-FFF2-40B4-BE49-F238E27FC236}">
                <a16:creationId xmlns:a16="http://schemas.microsoft.com/office/drawing/2014/main" id="{F1C526DE-E9AC-4549-AE40-6C080ADC9A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99"/>
          <a:stretch/>
        </p:blipFill>
        <p:spPr>
          <a:xfrm>
            <a:off x="-189339" y="3897277"/>
            <a:ext cx="3099286" cy="3099286"/>
          </a:xfrm>
          <a:prstGeom prst="ellipse">
            <a:avLst/>
          </a:prstGeom>
          <a:ln>
            <a:noFill/>
          </a:ln>
        </p:spPr>
      </p:pic>
      <p:sp>
        <p:nvSpPr>
          <p:cNvPr id="2" name="Text Placeholder 4">
            <a:extLst>
              <a:ext uri="{FF2B5EF4-FFF2-40B4-BE49-F238E27FC236}">
                <a16:creationId xmlns:a16="http://schemas.microsoft.com/office/drawing/2014/main" id="{DE27A871-2DAA-A27C-6D89-71959D5BAA4C}"/>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9176E5B-ECD5-EAFB-7FD7-A4A1B907464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83528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PAGE IMAGE BOTTOM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46773015-87F9-4F63-A42F-529A3B2610AB}"/>
              </a:ext>
            </a:extLst>
          </p:cNvPr>
          <p:cNvSpPr>
            <a:spLocks noChangeAspect="1"/>
          </p:cNvSpPr>
          <p:nvPr userDrawn="1"/>
        </p:nvSpPr>
        <p:spPr>
          <a:xfrm>
            <a:off x="-469834" y="3613201"/>
            <a:ext cx="3670234" cy="3634844"/>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98CA7951-F87D-46AC-B63B-781567473D72}"/>
              </a:ext>
            </a:extLst>
          </p:cNvPr>
          <p:cNvSpPr>
            <a:spLocks noChangeAspect="1"/>
          </p:cNvSpPr>
          <p:nvPr userDrawn="1"/>
        </p:nvSpPr>
        <p:spPr>
          <a:xfrm>
            <a:off x="-382986" y="3705513"/>
            <a:ext cx="3480351" cy="3446791"/>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Picture Placeholder 2">
            <a:extLst>
              <a:ext uri="{FF2B5EF4-FFF2-40B4-BE49-F238E27FC236}">
                <a16:creationId xmlns:a16="http://schemas.microsoft.com/office/drawing/2014/main" id="{8E38B319-A30A-4CC5-A1A0-54DBF80AC85B}"/>
              </a:ext>
            </a:extLst>
          </p:cNvPr>
          <p:cNvSpPr>
            <a:spLocks noGrp="1" noChangeAspect="1"/>
          </p:cNvSpPr>
          <p:nvPr>
            <p:ph type="pic" sz="quarter" idx="10"/>
          </p:nvPr>
        </p:nvSpPr>
        <p:spPr>
          <a:xfrm>
            <a:off x="-200536" y="3878440"/>
            <a:ext cx="3099286" cy="3099286"/>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A80287C8-7282-DB87-6C05-E56D612B1A1D}"/>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87EE7C1-4D61-A485-6EB1-398A98AEA01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1863142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CTIVITY TRANSITION PAGEA AF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16" descr="A group of people raising their hands&#10;&#10;Description automatically generated with medium confidence">
            <a:extLst>
              <a:ext uri="{FF2B5EF4-FFF2-40B4-BE49-F238E27FC236}">
                <a16:creationId xmlns:a16="http://schemas.microsoft.com/office/drawing/2014/main" id="{D58FC17E-4343-4A66-8DCF-A0AA2542816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36606" y="2323047"/>
            <a:ext cx="4854932" cy="4854932"/>
          </a:xfrm>
          <a:prstGeom prst="ellipse">
            <a:avLst/>
          </a:prstGeom>
        </p:spPr>
      </p:pic>
      <p:sp>
        <p:nvSpPr>
          <p:cNvPr id="2" name="Slide Number Placeholder 1">
            <a:extLst>
              <a:ext uri="{FF2B5EF4-FFF2-40B4-BE49-F238E27FC236}">
                <a16:creationId xmlns:a16="http://schemas.microsoft.com/office/drawing/2014/main" id="{AA9AB630-85C4-0775-C228-EDED48406AFA}"/>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8595960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CTIVITY TRANSITION PAGE AF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8" name="Picture Placeholder 12" descr="A person wearing headphones and holding a glass of beer&#10;&#10;Description automatically generated with medium confidence">
            <a:extLst>
              <a:ext uri="{FF2B5EF4-FFF2-40B4-BE49-F238E27FC236}">
                <a16:creationId xmlns:a16="http://schemas.microsoft.com/office/drawing/2014/main" id="{54C6C8D7-A8D1-41D6-A073-0F1FCBA74F3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98"/>
          <a:stretch/>
        </p:blipFill>
        <p:spPr>
          <a:xfrm>
            <a:off x="-639058" y="2309880"/>
            <a:ext cx="4854932" cy="4854932"/>
          </a:xfrm>
          <a:prstGeom prst="ellipse">
            <a:avLst/>
          </a:prstGeom>
        </p:spPr>
      </p:pic>
      <p:sp>
        <p:nvSpPr>
          <p:cNvPr id="2" name="Slide Number Placeholder 1">
            <a:extLst>
              <a:ext uri="{FF2B5EF4-FFF2-40B4-BE49-F238E27FC236}">
                <a16:creationId xmlns:a16="http://schemas.microsoft.com/office/drawing/2014/main" id="{F34889EA-0A8E-9F32-5F4F-12CC6318722C}"/>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94504633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CTIVITY TRANSITION PAGE AF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30" name="Picture Placeholder 7">
            <a:extLst>
              <a:ext uri="{FF2B5EF4-FFF2-40B4-BE49-F238E27FC236}">
                <a16:creationId xmlns:a16="http://schemas.microsoft.com/office/drawing/2014/main" id="{0A6FF159-8155-4AC7-B0C8-4F8248DDED8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63"/>
          <a:stretch/>
        </p:blipFill>
        <p:spPr>
          <a:xfrm>
            <a:off x="-623860" y="2309880"/>
            <a:ext cx="4854932" cy="4854932"/>
          </a:xfrm>
          <a:prstGeom prst="ellipse">
            <a:avLst/>
          </a:prstGeom>
          <a:ln>
            <a:noFill/>
          </a:ln>
        </p:spPr>
      </p:pic>
      <p:sp>
        <p:nvSpPr>
          <p:cNvPr id="2" name="Slide Number Placeholder 1">
            <a:extLst>
              <a:ext uri="{FF2B5EF4-FFF2-40B4-BE49-F238E27FC236}">
                <a16:creationId xmlns:a16="http://schemas.microsoft.com/office/drawing/2014/main" id="{EC6A50D3-57E0-F2B2-D33C-5410C78D654D}"/>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6170792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CTIVITY TRANSITION PAGE AS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3" name="Picture Placeholder 127">
            <a:extLst>
              <a:ext uri="{FF2B5EF4-FFF2-40B4-BE49-F238E27FC236}">
                <a16:creationId xmlns:a16="http://schemas.microsoft.com/office/drawing/2014/main" id="{745B3249-9840-401F-8B6E-9957F3E68C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394"/>
          <a:stretch/>
        </p:blipFill>
        <p:spPr>
          <a:xfrm>
            <a:off x="-644463" y="2322580"/>
            <a:ext cx="4854932" cy="4854932"/>
          </a:xfrm>
          <a:prstGeom prst="ellipse">
            <a:avLst/>
          </a:prstGeom>
          <a:ln>
            <a:noFill/>
          </a:ln>
        </p:spPr>
      </p:pic>
      <p:sp>
        <p:nvSpPr>
          <p:cNvPr id="2" name="Slide Number Placeholder 1">
            <a:extLst>
              <a:ext uri="{FF2B5EF4-FFF2-40B4-BE49-F238E27FC236}">
                <a16:creationId xmlns:a16="http://schemas.microsoft.com/office/drawing/2014/main" id="{977D2245-2126-DFA8-0D5B-EA4A32525269}"/>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8061729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CTIVITY TRANSITION PAGE AS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37" descr="A picture containing person, sport, dancer, colorful&#10;&#10;Description automatically generated">
            <a:extLst>
              <a:ext uri="{FF2B5EF4-FFF2-40B4-BE49-F238E27FC236}">
                <a16:creationId xmlns:a16="http://schemas.microsoft.com/office/drawing/2014/main" id="{4A7875E8-45E8-4AB0-BAF3-2EA96ECA49E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6560" y="2316829"/>
            <a:ext cx="4854932" cy="4854932"/>
          </a:xfrm>
          <a:prstGeom prst="ellipse">
            <a:avLst/>
          </a:prstGeom>
          <a:ln>
            <a:noFill/>
          </a:ln>
        </p:spPr>
      </p:pic>
      <p:sp>
        <p:nvSpPr>
          <p:cNvPr id="2" name="Slide Number Placeholder 1">
            <a:extLst>
              <a:ext uri="{FF2B5EF4-FFF2-40B4-BE49-F238E27FC236}">
                <a16:creationId xmlns:a16="http://schemas.microsoft.com/office/drawing/2014/main" id="{18AD24C9-9068-2206-72E7-1057C2702C91}"/>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25153665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CTIVITY TRANSITION PAGE AS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22" descr="A picture containing person&#10;&#10;Description automatically generated">
            <a:extLst>
              <a:ext uri="{FF2B5EF4-FFF2-40B4-BE49-F238E27FC236}">
                <a16:creationId xmlns:a16="http://schemas.microsoft.com/office/drawing/2014/main" id="{3CC4E0A8-6E4A-4188-93BF-5BF5BB59F7F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2785" y="2309880"/>
            <a:ext cx="4854932" cy="4854932"/>
          </a:xfrm>
          <a:prstGeom prst="ellipse">
            <a:avLst/>
          </a:prstGeom>
          <a:ln>
            <a:noFill/>
          </a:ln>
        </p:spPr>
      </p:pic>
      <p:sp>
        <p:nvSpPr>
          <p:cNvPr id="2" name="Slide Number Placeholder 1">
            <a:extLst>
              <a:ext uri="{FF2B5EF4-FFF2-40B4-BE49-F238E27FC236}">
                <a16:creationId xmlns:a16="http://schemas.microsoft.com/office/drawing/2014/main" id="{94984FFA-635C-BD99-2084-5D594D572CBD}"/>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9325799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CTIVITY TRANSITION PAGE AS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32" descr="A group of people running&#10;&#10;Description automatically generated">
            <a:extLst>
              <a:ext uri="{FF2B5EF4-FFF2-40B4-BE49-F238E27FC236}">
                <a16:creationId xmlns:a16="http://schemas.microsoft.com/office/drawing/2014/main" id="{E8F50E11-BDD9-4689-9DC0-7A17376FE2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905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B9EBC849-4326-C344-E95A-238C9D59BCB6}"/>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9773976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CTIVITY TRANSITION PAGE SA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115" descr="A person with his arms crossed&#10;&#10;Description automatically generated with low confidence">
            <a:extLst>
              <a:ext uri="{FF2B5EF4-FFF2-40B4-BE49-F238E27FC236}">
                <a16:creationId xmlns:a16="http://schemas.microsoft.com/office/drawing/2014/main" id="{B270CD26-81BF-4B49-80D1-F7BA27BFA55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973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60726E73-869B-83A0-5553-84CFFDF88B09}"/>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040111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LASHPAGE OTHER 3">
    <p:bg>
      <p:bgPr>
        <a:solidFill>
          <a:schemeClr val="bg1"/>
        </a:solidFill>
        <a:effectLst/>
      </p:bgPr>
    </p:bg>
    <p:spTree>
      <p:nvGrpSpPr>
        <p:cNvPr id="1" name=""/>
        <p:cNvGrpSpPr/>
        <p:nvPr/>
      </p:nvGrpSpPr>
      <p:grpSpPr>
        <a:xfrm>
          <a:off x="0" y="0"/>
          <a:ext cx="0" cy="0"/>
          <a:chOff x="0" y="0"/>
          <a:chExt cx="0" cy="0"/>
        </a:xfrm>
      </p:grpSpPr>
      <p:pic>
        <p:nvPicPr>
          <p:cNvPr id="15362" name="Picture 2">
            <a:extLst>
              <a:ext uri="{FF2B5EF4-FFF2-40B4-BE49-F238E27FC236}">
                <a16:creationId xmlns:a16="http://schemas.microsoft.com/office/drawing/2014/main" id="{AA636C35-A380-4E44-A95F-3CE58889242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27" y="0"/>
            <a:ext cx="69770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4651BD9E-62BA-477E-B88C-39A2153FF555}"/>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49826" b="99187" l="685" r="58904">
                        <a14:foregroundMark x1="15868" y1="49826" x2="16438" y2="51684"/>
                        <a14:foregroundMark x1="4680" y1="79559" x2="1027" y2="94774"/>
                        <a14:foregroundMark x1="8562" y1="96516" x2="31279" y2="99419"/>
                        <a14:foregroundMark x1="31279" y1="99419" x2="39612" y2="98490"/>
                        <a14:foregroundMark x1="45662" y1="98490" x2="47831" y2="98839"/>
                        <a14:foregroundMark x1="15639" y1="52846" x2="15639" y2="52846"/>
                        <a14:foregroundMark x1="18151" y1="50871" x2="18151" y2="50871"/>
                        <a14:foregroundMark x1="18151" y1="50871" x2="16553" y2="51916"/>
                        <a14:foregroundMark x1="55708" y1="54239" x2="55936" y2="61324"/>
                        <a14:foregroundMark x1="55936" y1="61324" x2="55936" y2="61324"/>
                        <a14:foregroundMark x1="57306" y1="57027" x2="58904" y2="61208"/>
                        <a14:backgroundMark x1="9247" y1="51336" x2="8904" y2="67131"/>
                        <a14:backgroundMark x1="26826" y1="53891" x2="42352" y2="66434"/>
                        <a14:backgroundMark x1="28653" y1="71429" x2="36644" y2="73055"/>
                        <a14:backgroundMark x1="28082" y1="71196" x2="28082" y2="71196"/>
                      </a14:backgroundRemoval>
                    </a14:imgEffect>
                  </a14:imgLayer>
                </a14:imgProps>
              </a:ext>
              <a:ext uri="{28A0092B-C50C-407E-A947-70E740481C1C}">
                <a14:useLocalDpi xmlns:a14="http://schemas.microsoft.com/office/drawing/2010/main" val="0"/>
              </a:ext>
            </a:extLst>
          </a:blip>
          <a:srcRect t="48125" r="49980" b="-1"/>
          <a:stretch/>
        </p:blipFill>
        <p:spPr bwMode="auto">
          <a:xfrm>
            <a:off x="-11668" y="3295973"/>
            <a:ext cx="3489895" cy="355757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E1E55529-5152-004A-CC1B-1EC765D245B9}"/>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33ADF81C-64FF-5830-4D41-594A1E2C29D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8B8A01D3-0280-C0B8-62A5-B7440F21E0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DF43539D-2D01-D2C0-1806-52D5E198832D}"/>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A1B7FD58-3E15-C8B9-9CE5-AC013B40A21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04285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CTIVITY TRANSITION PAGE SA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05">
            <a:extLst>
              <a:ext uri="{FF2B5EF4-FFF2-40B4-BE49-F238E27FC236}">
                <a16:creationId xmlns:a16="http://schemas.microsoft.com/office/drawing/2014/main" id="{7E2B29AF-A8AF-4F10-8141-C9E9DCB50BB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2020" y="2322580"/>
            <a:ext cx="4854932" cy="4854932"/>
          </a:xfrm>
          <a:prstGeom prst="ellipse">
            <a:avLst/>
          </a:prstGeom>
          <a:ln>
            <a:noFill/>
          </a:ln>
        </p:spPr>
      </p:pic>
      <p:sp>
        <p:nvSpPr>
          <p:cNvPr id="2" name="Slide Number Placeholder 1">
            <a:extLst>
              <a:ext uri="{FF2B5EF4-FFF2-40B4-BE49-F238E27FC236}">
                <a16:creationId xmlns:a16="http://schemas.microsoft.com/office/drawing/2014/main" id="{8A5F75FD-FB43-8CFB-8A84-B2988DFFB226}"/>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447160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CTIVITY TRANSITION PAGE SA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4" name="Picture Placeholder 120" descr="A group of men posing for a photo&#10;&#10;Description automatically generated with medium confidence">
            <a:extLst>
              <a:ext uri="{FF2B5EF4-FFF2-40B4-BE49-F238E27FC236}">
                <a16:creationId xmlns:a16="http://schemas.microsoft.com/office/drawing/2014/main" id="{446A5102-6050-4F3E-B172-F44565CECB9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8524" y="2323047"/>
            <a:ext cx="4854932" cy="4854932"/>
          </a:xfrm>
          <a:prstGeom prst="ellipse">
            <a:avLst/>
          </a:prstGeom>
          <a:ln>
            <a:noFill/>
          </a:ln>
        </p:spPr>
      </p:pic>
      <p:sp>
        <p:nvSpPr>
          <p:cNvPr id="2" name="Slide Number Placeholder 1">
            <a:extLst>
              <a:ext uri="{FF2B5EF4-FFF2-40B4-BE49-F238E27FC236}">
                <a16:creationId xmlns:a16="http://schemas.microsoft.com/office/drawing/2014/main" id="{C8C3C119-A7E2-CD7C-50FC-CFBB2B49AF7D}"/>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6443909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CTIVITY TRANSITION PAGE SA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10">
            <a:extLst>
              <a:ext uri="{FF2B5EF4-FFF2-40B4-BE49-F238E27FC236}">
                <a16:creationId xmlns:a16="http://schemas.microsoft.com/office/drawing/2014/main" id="{55C3F078-CE24-4D1A-9486-E980260B9ED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1358" y="2322580"/>
            <a:ext cx="4854932" cy="4854932"/>
          </a:xfrm>
          <a:prstGeom prst="ellipse">
            <a:avLst/>
          </a:prstGeom>
          <a:ln>
            <a:noFill/>
          </a:ln>
        </p:spPr>
      </p:pic>
      <p:sp>
        <p:nvSpPr>
          <p:cNvPr id="2" name="Slide Number Placeholder 1">
            <a:extLst>
              <a:ext uri="{FF2B5EF4-FFF2-40B4-BE49-F238E27FC236}">
                <a16:creationId xmlns:a16="http://schemas.microsoft.com/office/drawing/2014/main" id="{3D19F135-70BB-B34E-5009-DDB65A04DC2D}"/>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017428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CTIVITY TRANSITION PAGE W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3" name="Picture Placeholder 341">
            <a:extLst>
              <a:ext uri="{FF2B5EF4-FFF2-40B4-BE49-F238E27FC236}">
                <a16:creationId xmlns:a16="http://schemas.microsoft.com/office/drawing/2014/main" id="{9A8927FA-857E-4E98-A171-4CFB0A6283F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973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6702BEB0-D4B4-0D33-E066-B9536E83AC41}"/>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1736671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CTIVITY TRANSITION PAGE W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8" name="Picture Placeholder 355">
            <a:extLst>
              <a:ext uri="{FF2B5EF4-FFF2-40B4-BE49-F238E27FC236}">
                <a16:creationId xmlns:a16="http://schemas.microsoft.com/office/drawing/2014/main" id="{95E7CFCD-6A83-409B-9BB3-F865EA42260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40169" y="2316829"/>
            <a:ext cx="4854932" cy="4854932"/>
          </a:xfrm>
          <a:prstGeom prst="ellipse">
            <a:avLst/>
          </a:prstGeom>
          <a:ln>
            <a:noFill/>
          </a:ln>
        </p:spPr>
      </p:pic>
      <p:sp>
        <p:nvSpPr>
          <p:cNvPr id="2" name="Slide Number Placeholder 1">
            <a:extLst>
              <a:ext uri="{FF2B5EF4-FFF2-40B4-BE49-F238E27FC236}">
                <a16:creationId xmlns:a16="http://schemas.microsoft.com/office/drawing/2014/main" id="{52D11ADA-2A50-53C3-1DBE-6A04973BA3F7}"/>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9261903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CTIVITY TRANSITION PAGE WE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4" name="Picture Placeholder 336">
            <a:extLst>
              <a:ext uri="{FF2B5EF4-FFF2-40B4-BE49-F238E27FC236}">
                <a16:creationId xmlns:a16="http://schemas.microsoft.com/office/drawing/2014/main" id="{36225AA7-1C9F-448C-AB15-08CAAF1D7A5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3053" y="2322580"/>
            <a:ext cx="4854932" cy="4854932"/>
          </a:xfrm>
          <a:prstGeom prst="ellipse">
            <a:avLst/>
          </a:prstGeom>
          <a:ln>
            <a:noFill/>
          </a:ln>
        </p:spPr>
      </p:pic>
      <p:sp>
        <p:nvSpPr>
          <p:cNvPr id="2" name="Slide Number Placeholder 1">
            <a:extLst>
              <a:ext uri="{FF2B5EF4-FFF2-40B4-BE49-F238E27FC236}">
                <a16:creationId xmlns:a16="http://schemas.microsoft.com/office/drawing/2014/main" id="{09C5ADAB-7122-4CD8-5326-97007BFFCB25}"/>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4786774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CTIVITY TRANSITION PAGE WE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1" name="Picture Placeholder 346" descr="A picture containing person, water sport, sport, swimming&#10;&#10;Description automatically generated">
            <a:extLst>
              <a:ext uri="{FF2B5EF4-FFF2-40B4-BE49-F238E27FC236}">
                <a16:creationId xmlns:a16="http://schemas.microsoft.com/office/drawing/2014/main" id="{6533F9B4-4AD2-4AC3-A26C-895C6964BAC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0169" y="2309880"/>
            <a:ext cx="4854932" cy="4854932"/>
          </a:xfrm>
          <a:prstGeom prst="ellipse">
            <a:avLst/>
          </a:prstGeom>
          <a:ln>
            <a:noFill/>
          </a:ln>
        </p:spPr>
      </p:pic>
      <p:sp>
        <p:nvSpPr>
          <p:cNvPr id="2" name="Slide Number Placeholder 1">
            <a:extLst>
              <a:ext uri="{FF2B5EF4-FFF2-40B4-BE49-F238E27FC236}">
                <a16:creationId xmlns:a16="http://schemas.microsoft.com/office/drawing/2014/main" id="{8BF2D95E-73AC-9ABC-D88E-041A3D949D79}"/>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55088745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CTIVITY TRANSITION PAGE OTHER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95" descr="A picture containing dark&#10;&#10;Description automatically generated">
            <a:extLst>
              <a:ext uri="{FF2B5EF4-FFF2-40B4-BE49-F238E27FC236}">
                <a16:creationId xmlns:a16="http://schemas.microsoft.com/office/drawing/2014/main" id="{8A180B2A-BF2D-4FEB-9346-9B7C410B5A5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38374" y="2309880"/>
            <a:ext cx="4854932" cy="4854932"/>
          </a:xfrm>
          <a:prstGeom prst="ellipse">
            <a:avLst/>
          </a:prstGeom>
          <a:ln>
            <a:noFill/>
          </a:ln>
        </p:spPr>
      </p:pic>
      <p:sp>
        <p:nvSpPr>
          <p:cNvPr id="2" name="Slide Number Placeholder 1">
            <a:extLst>
              <a:ext uri="{FF2B5EF4-FFF2-40B4-BE49-F238E27FC236}">
                <a16:creationId xmlns:a16="http://schemas.microsoft.com/office/drawing/2014/main" id="{055CFA40-C43C-E7B4-D362-DF3F56B987CB}"/>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17763575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CTIVITY TRANSITION PAGE OTHER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90" descr="A picture containing building, outdoor, blue, stone&#10;&#10;Description automatically generated">
            <a:extLst>
              <a:ext uri="{FF2B5EF4-FFF2-40B4-BE49-F238E27FC236}">
                <a16:creationId xmlns:a16="http://schemas.microsoft.com/office/drawing/2014/main" id="{20DD8E6A-F37D-4CEE-8B28-892B6221791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52888" y="2282358"/>
            <a:ext cx="4854932" cy="4854932"/>
          </a:xfrm>
          <a:prstGeom prst="ellipse">
            <a:avLst/>
          </a:prstGeom>
          <a:ln>
            <a:noFill/>
          </a:ln>
        </p:spPr>
      </p:pic>
      <p:sp>
        <p:nvSpPr>
          <p:cNvPr id="2" name="Slide Number Placeholder 1">
            <a:extLst>
              <a:ext uri="{FF2B5EF4-FFF2-40B4-BE49-F238E27FC236}">
                <a16:creationId xmlns:a16="http://schemas.microsoft.com/office/drawing/2014/main" id="{FE96857B-6312-FB00-CAE5-2A3AA3A8E0AB}"/>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85791510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CTIVITY TRANSITION PAGE OTHER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00">
            <a:extLst>
              <a:ext uri="{FF2B5EF4-FFF2-40B4-BE49-F238E27FC236}">
                <a16:creationId xmlns:a16="http://schemas.microsoft.com/office/drawing/2014/main" id="{A9F941BB-AD7F-4F8D-8489-E645C72B01D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74706" y="2323047"/>
            <a:ext cx="4854932" cy="4854932"/>
          </a:xfrm>
          <a:prstGeom prst="ellipse">
            <a:avLst/>
          </a:prstGeom>
        </p:spPr>
      </p:pic>
      <p:sp>
        <p:nvSpPr>
          <p:cNvPr id="2" name="Slide Number Placeholder 1">
            <a:extLst>
              <a:ext uri="{FF2B5EF4-FFF2-40B4-BE49-F238E27FC236}">
                <a16:creationId xmlns:a16="http://schemas.microsoft.com/office/drawing/2014/main" id="{9E1C0B2D-2093-FE82-1278-FEF8B9ADEFBF}"/>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5687813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JECTIVES P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n end of this module you will be able to:</a:t>
            </a:r>
          </a:p>
        </p:txBody>
      </p:sp>
      <p:sp>
        <p:nvSpPr>
          <p:cNvPr id="2" name="Slide Number Placeholder 1">
            <a:extLst>
              <a:ext uri="{FF2B5EF4-FFF2-40B4-BE49-F238E27FC236}">
                <a16:creationId xmlns:a16="http://schemas.microsoft.com/office/drawing/2014/main" id="{73272EEA-77E3-C80B-BFD3-2EFB225170D5}"/>
              </a:ext>
            </a:extLst>
          </p:cNvPr>
          <p:cNvSpPr>
            <a:spLocks noGrp="1"/>
          </p:cNvSpPr>
          <p:nvPr>
            <p:ph type="sldNum" sz="quarter" idx="14"/>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60758847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CTIVITY TRANSITION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958717" y="2098999"/>
            <a:ext cx="5397554" cy="53455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Circle: Hollow 33">
            <a:extLst>
              <a:ext uri="{FF2B5EF4-FFF2-40B4-BE49-F238E27FC236}">
                <a16:creationId xmlns:a16="http://schemas.microsoft.com/office/drawing/2014/main" id="{43395294-4557-46A9-9919-F13E15CDE4E9}"/>
              </a:ext>
            </a:extLst>
          </p:cNvPr>
          <p:cNvSpPr>
            <a:spLocks noChangeAspect="1"/>
          </p:cNvSpPr>
          <p:nvPr userDrawn="1"/>
        </p:nvSpPr>
        <p:spPr>
          <a:xfrm>
            <a:off x="-1070210" y="1922002"/>
            <a:ext cx="5695879" cy="5640956"/>
          </a:xfrm>
          <a:prstGeom prst="donut">
            <a:avLst>
              <a:gd name="adj" fmla="val 1425"/>
            </a:avLst>
          </a:prstGeom>
          <a:solidFill>
            <a:schemeClr val="tx1">
              <a:lumMod val="50000"/>
              <a:lumOff val="50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35" name="Circle: Hollow 34">
            <a:extLst>
              <a:ext uri="{FF2B5EF4-FFF2-40B4-BE49-F238E27FC236}">
                <a16:creationId xmlns:a16="http://schemas.microsoft.com/office/drawing/2014/main" id="{4CC85DBD-7E11-4644-8662-540317DD574A}"/>
              </a:ext>
            </a:extLst>
          </p:cNvPr>
          <p:cNvSpPr>
            <a:spLocks noChangeAspect="1"/>
          </p:cNvSpPr>
          <p:nvPr userDrawn="1"/>
        </p:nvSpPr>
        <p:spPr>
          <a:xfrm>
            <a:off x="-949658" y="2094455"/>
            <a:ext cx="5401195" cy="5349114"/>
          </a:xfrm>
          <a:prstGeom prst="donut">
            <a:avLst>
              <a:gd name="adj" fmla="val 2682"/>
            </a:avLst>
          </a:prstGeom>
          <a:solidFill>
            <a:schemeClr val="tx1">
              <a:lumMod val="50000"/>
              <a:lumOff val="5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30" name="Oval 29">
            <a:extLst>
              <a:ext uri="{FF2B5EF4-FFF2-40B4-BE49-F238E27FC236}">
                <a16:creationId xmlns:a16="http://schemas.microsoft.com/office/drawing/2014/main" id="{2140EA6C-A7FA-4766-B89B-40730972C3CB}"/>
              </a:ext>
            </a:extLst>
          </p:cNvPr>
          <p:cNvSpPr>
            <a:spLocks noChangeAspect="1"/>
          </p:cNvSpPr>
          <p:nvPr userDrawn="1"/>
        </p:nvSpPr>
        <p:spPr>
          <a:xfrm>
            <a:off x="9524786" y="-493399"/>
            <a:ext cx="3243883" cy="32126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Circle: Hollow 30">
            <a:extLst>
              <a:ext uri="{FF2B5EF4-FFF2-40B4-BE49-F238E27FC236}">
                <a16:creationId xmlns:a16="http://schemas.microsoft.com/office/drawing/2014/main" id="{D6BBE2D3-617E-4598-874E-DAAFE6A89CC5}"/>
              </a:ext>
            </a:extLst>
          </p:cNvPr>
          <p:cNvSpPr>
            <a:spLocks noChangeAspect="1"/>
          </p:cNvSpPr>
          <p:nvPr userDrawn="1"/>
        </p:nvSpPr>
        <p:spPr>
          <a:xfrm>
            <a:off x="9412977" y="-609346"/>
            <a:ext cx="3471870" cy="3438392"/>
          </a:xfrm>
          <a:prstGeom prst="donut">
            <a:avLst>
              <a:gd name="adj" fmla="val 1425"/>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32" name="Circle: Hollow 31">
            <a:extLst>
              <a:ext uri="{FF2B5EF4-FFF2-40B4-BE49-F238E27FC236}">
                <a16:creationId xmlns:a16="http://schemas.microsoft.com/office/drawing/2014/main" id="{4F18B7CA-1521-4797-901A-711FD6AE2821}"/>
              </a:ext>
            </a:extLst>
          </p:cNvPr>
          <p:cNvSpPr>
            <a:spLocks noChangeAspect="1"/>
          </p:cNvSpPr>
          <p:nvPr userDrawn="1"/>
        </p:nvSpPr>
        <p:spPr>
          <a:xfrm>
            <a:off x="9530300" y="-493399"/>
            <a:ext cx="3238369" cy="3207143"/>
          </a:xfrm>
          <a:prstGeom prst="donut">
            <a:avLst>
              <a:gd name="adj" fmla="val 2682"/>
            </a:avLst>
          </a:prstGeom>
          <a:solidFill>
            <a:schemeClr val="tx1">
              <a:lumMod val="50000"/>
              <a:lumOff val="5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1" name="Picture Placeholder 2">
            <a:extLst>
              <a:ext uri="{FF2B5EF4-FFF2-40B4-BE49-F238E27FC236}">
                <a16:creationId xmlns:a16="http://schemas.microsoft.com/office/drawing/2014/main" id="{8C66B2F9-7F2F-4B0F-BCB5-0D476F9C4036}"/>
              </a:ext>
            </a:extLst>
          </p:cNvPr>
          <p:cNvSpPr>
            <a:spLocks noGrp="1" noChangeAspect="1"/>
          </p:cNvSpPr>
          <p:nvPr>
            <p:ph type="pic" sz="quarter" idx="13"/>
          </p:nvPr>
        </p:nvSpPr>
        <p:spPr>
          <a:xfrm>
            <a:off x="-674706" y="2323047"/>
            <a:ext cx="4854932" cy="4854932"/>
          </a:xfrm>
          <a:prstGeom prst="ellipse">
            <a:avLst/>
          </a:prstGeom>
          <a:ln>
            <a:noFill/>
          </a:ln>
        </p:spPr>
        <p:txBody>
          <a:bodyPr/>
          <a:lstStyle/>
          <a:p>
            <a:endParaRPr lang="nl-NL"/>
          </a:p>
        </p:txBody>
      </p:sp>
      <p:sp>
        <p:nvSpPr>
          <p:cNvPr id="36" name="TextBox 35">
            <a:extLst>
              <a:ext uri="{FF2B5EF4-FFF2-40B4-BE49-F238E27FC236}">
                <a16:creationId xmlns:a16="http://schemas.microsoft.com/office/drawing/2014/main" id="{108636AC-E3F3-4206-B3DF-B6B91A39477B}"/>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chemeClr val="tx1">
                    <a:lumMod val="50000"/>
                    <a:lumOff val="50000"/>
                  </a:schemeClr>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 name="Slide Number Placeholder 1">
            <a:extLst>
              <a:ext uri="{FF2B5EF4-FFF2-40B4-BE49-F238E27FC236}">
                <a16:creationId xmlns:a16="http://schemas.microsoft.com/office/drawing/2014/main" id="{E2370806-9453-B699-70FE-DA782E8604D2}"/>
              </a:ext>
            </a:extLst>
          </p:cNvPr>
          <p:cNvSpPr>
            <a:spLocks noGrp="1"/>
          </p:cNvSpPr>
          <p:nvPr>
            <p:ph type="sldNum" sz="quarter" idx="14"/>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52651386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CTIVITY DESCRIPTION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10" y="1601040"/>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description</a:t>
            </a:r>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28" name="Picture 4">
            <a:extLst>
              <a:ext uri="{FF2B5EF4-FFF2-40B4-BE49-F238E27FC236}">
                <a16:creationId xmlns:a16="http://schemas.microsoft.com/office/drawing/2014/main" id="{4FB6D550-E9CE-4FA3-8A58-428B76CA8F5D}"/>
              </a:ext>
            </a:extLst>
          </p:cNvPr>
          <p:cNvPicPr>
            <a:picLocks noChangeAspect="1" noChangeArrowheads="1"/>
          </p:cNvPicPr>
          <p:nvPr userDrawn="1"/>
        </p:nvPicPr>
        <p:blipFill>
          <a:blip r:embed="rId6" cstate="email">
            <a:grayscl/>
            <a:alphaModFix amt="70000"/>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8632648" y="-363857"/>
            <a:ext cx="3950312" cy="3932557"/>
          </a:xfrm>
          <a:prstGeom prst="ellipse">
            <a:avLst/>
          </a:prstGeom>
          <a:ln w="190500" cap="rnd">
            <a:noFill/>
            <a:prstDash val="solid"/>
          </a:ln>
          <a:effectLst/>
          <a:scene3d>
            <a:camera prst="orthographicFront"/>
            <a:lightRig rig="threePt" dir="t">
              <a:rot lat="0" lon="0" rev="19200000"/>
            </a:lightRig>
          </a:scene3d>
          <a:sp3d extrusionH="25400">
            <a:extrusionClr>
              <a:srgbClr val="000000"/>
            </a:extrusionClr>
          </a:sp3d>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896D6DA2-C376-B76E-BDFE-2BA879F11019}"/>
              </a:ext>
            </a:extLst>
          </p:cNvPr>
          <p:cNvSpPr>
            <a:spLocks noGrp="1"/>
          </p:cNvSpPr>
          <p:nvPr>
            <p:ph type="sldNum" sz="quarter" idx="13"/>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433966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CTIVITY DESCRIPTION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09" y="162903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description</a:t>
            </a:r>
          </a:p>
        </p:txBody>
      </p:sp>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21" name="Picture Placeholder 2">
            <a:extLst>
              <a:ext uri="{FF2B5EF4-FFF2-40B4-BE49-F238E27FC236}">
                <a16:creationId xmlns:a16="http://schemas.microsoft.com/office/drawing/2014/main" id="{E986AB6F-E24C-434A-A8D2-81FF08CF8E07}"/>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a:p>
        </p:txBody>
      </p:sp>
      <p:sp>
        <p:nvSpPr>
          <p:cNvPr id="2" name="Slide Number Placeholder 1">
            <a:extLst>
              <a:ext uri="{FF2B5EF4-FFF2-40B4-BE49-F238E27FC236}">
                <a16:creationId xmlns:a16="http://schemas.microsoft.com/office/drawing/2014/main" id="{6F22ECCB-45A5-005F-E0B3-FE62834AB0C7}"/>
              </a:ext>
            </a:extLst>
          </p:cNvPr>
          <p:cNvSpPr>
            <a:spLocks noGrp="1"/>
          </p:cNvSpPr>
          <p:nvPr>
            <p:ph type="sldNum" sz="quarter" idx="14"/>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07052221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2" name="Slide Number Placeholder 1">
            <a:extLst>
              <a:ext uri="{FF2B5EF4-FFF2-40B4-BE49-F238E27FC236}">
                <a16:creationId xmlns:a16="http://schemas.microsoft.com/office/drawing/2014/main" id="{12CB08C0-95C1-B69D-8C67-F5A7172CDF5A}"/>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3741777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NOTES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5080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33481"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7" name="Rectangle: Rounded Corners 6">
            <a:extLst>
              <a:ext uri="{FF2B5EF4-FFF2-40B4-BE49-F238E27FC236}">
                <a16:creationId xmlns:a16="http://schemas.microsoft.com/office/drawing/2014/main" id="{B010EA47-4C5C-49EB-A69D-D0A21BE4735C}"/>
              </a:ext>
            </a:extLst>
          </p:cNvPr>
          <p:cNvSpPr/>
          <p:nvPr userDrawn="1"/>
        </p:nvSpPr>
        <p:spPr>
          <a:xfrm>
            <a:off x="4801415" y="996972"/>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D51E019A-245B-4E0B-B864-90683F6AECF2}"/>
              </a:ext>
            </a:extLst>
          </p:cNvPr>
          <p:cNvSpPr/>
          <p:nvPr userDrawn="1"/>
        </p:nvSpPr>
        <p:spPr>
          <a:xfrm>
            <a:off x="8581648" y="996972"/>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7015ADE4-5BC5-4D7C-87CE-574134FFD385}"/>
              </a:ext>
            </a:extLst>
          </p:cNvPr>
          <p:cNvSpPr/>
          <p:nvPr userDrawn="1"/>
        </p:nvSpPr>
        <p:spPr>
          <a:xfrm>
            <a:off x="214334" y="1441802"/>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713E4885-1DD0-4F60-BD87-A2BF20B02563}"/>
              </a:ext>
            </a:extLst>
          </p:cNvPr>
          <p:cNvSpPr/>
          <p:nvPr userDrawn="1"/>
        </p:nvSpPr>
        <p:spPr>
          <a:xfrm>
            <a:off x="309505" y="1394753"/>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51172AE3-15A4-4C0B-96BF-46AB5C7BFD17}"/>
              </a:ext>
            </a:extLst>
          </p:cNvPr>
          <p:cNvSpPr/>
          <p:nvPr userDrawn="1"/>
        </p:nvSpPr>
        <p:spPr>
          <a:xfrm>
            <a:off x="391902" y="1346200"/>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A186C83-D957-408A-95BB-404DC8AFB447}"/>
              </a:ext>
            </a:extLst>
          </p:cNvPr>
          <p:cNvSpPr/>
          <p:nvPr userDrawn="1"/>
        </p:nvSpPr>
        <p:spPr>
          <a:xfrm>
            <a:off x="785298" y="996972"/>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3" name="Straight Connector 2">
            <a:extLst>
              <a:ext uri="{FF2B5EF4-FFF2-40B4-BE49-F238E27FC236}">
                <a16:creationId xmlns:a16="http://schemas.microsoft.com/office/drawing/2014/main" id="{E7F00E61-CB13-4FDB-92C8-09428B2A2912}"/>
              </a:ext>
            </a:extLst>
          </p:cNvPr>
          <p:cNvCxnSpPr/>
          <p:nvPr userDrawn="1"/>
        </p:nvCxnSpPr>
        <p:spPr>
          <a:xfrm>
            <a:off x="635000" y="19939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EF346B0-A95C-48B9-A290-06C06790D29C}"/>
              </a:ext>
            </a:extLst>
          </p:cNvPr>
          <p:cNvCxnSpPr/>
          <p:nvPr userDrawn="1"/>
        </p:nvCxnSpPr>
        <p:spPr>
          <a:xfrm>
            <a:off x="635000" y="23876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1D5D22-03F2-4603-9A4B-31ADD75146BA}"/>
              </a:ext>
            </a:extLst>
          </p:cNvPr>
          <p:cNvCxnSpPr/>
          <p:nvPr userDrawn="1"/>
        </p:nvCxnSpPr>
        <p:spPr>
          <a:xfrm>
            <a:off x="635000" y="27813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0932137-CE10-40E7-AF72-2AF6441D557E}"/>
              </a:ext>
            </a:extLst>
          </p:cNvPr>
          <p:cNvCxnSpPr/>
          <p:nvPr userDrawn="1"/>
        </p:nvCxnSpPr>
        <p:spPr>
          <a:xfrm>
            <a:off x="635000" y="31750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5D976C0-9010-495E-8687-22D2D2339066}"/>
              </a:ext>
            </a:extLst>
          </p:cNvPr>
          <p:cNvCxnSpPr/>
          <p:nvPr userDrawn="1"/>
        </p:nvCxnSpPr>
        <p:spPr>
          <a:xfrm>
            <a:off x="635000" y="35560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2AA7FEA-704B-4CEB-AFF9-62776B1ED952}"/>
              </a:ext>
            </a:extLst>
          </p:cNvPr>
          <p:cNvCxnSpPr/>
          <p:nvPr userDrawn="1"/>
        </p:nvCxnSpPr>
        <p:spPr>
          <a:xfrm>
            <a:off x="635000" y="39497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459D435-0084-44F4-A9FF-36D7E11B4EA7}"/>
              </a:ext>
            </a:extLst>
          </p:cNvPr>
          <p:cNvCxnSpPr/>
          <p:nvPr userDrawn="1"/>
        </p:nvCxnSpPr>
        <p:spPr>
          <a:xfrm>
            <a:off x="635000" y="43434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8FB8BAA-BC4E-494C-B2D3-623655122E9E}"/>
              </a:ext>
            </a:extLst>
          </p:cNvPr>
          <p:cNvCxnSpPr/>
          <p:nvPr userDrawn="1"/>
        </p:nvCxnSpPr>
        <p:spPr>
          <a:xfrm>
            <a:off x="635000" y="47371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B726947-6207-4EF7-A480-EAC4AB48CB94}"/>
              </a:ext>
            </a:extLst>
          </p:cNvPr>
          <p:cNvCxnSpPr/>
          <p:nvPr userDrawn="1"/>
        </p:nvCxnSpPr>
        <p:spPr>
          <a:xfrm>
            <a:off x="635000" y="51054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850983E-0922-4848-8BBD-B4F450D15804}"/>
              </a:ext>
            </a:extLst>
          </p:cNvPr>
          <p:cNvCxnSpPr/>
          <p:nvPr userDrawn="1"/>
        </p:nvCxnSpPr>
        <p:spPr>
          <a:xfrm>
            <a:off x="635000" y="54991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A1BA1B-5D82-43C1-8101-C7F3DA63F151}"/>
              </a:ext>
            </a:extLst>
          </p:cNvPr>
          <p:cNvCxnSpPr/>
          <p:nvPr userDrawn="1"/>
        </p:nvCxnSpPr>
        <p:spPr>
          <a:xfrm>
            <a:off x="635000" y="58928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50664C4-7DEA-48F9-A56C-77C8E17A5A35}"/>
              </a:ext>
            </a:extLst>
          </p:cNvPr>
          <p:cNvCxnSpPr/>
          <p:nvPr userDrawn="1"/>
        </p:nvCxnSpPr>
        <p:spPr>
          <a:xfrm>
            <a:off x="635000" y="62865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33" name="Google Shape;300;p37">
            <a:extLst>
              <a:ext uri="{FF2B5EF4-FFF2-40B4-BE49-F238E27FC236}">
                <a16:creationId xmlns:a16="http://schemas.microsoft.com/office/drawing/2014/main" id="{42364757-2F22-41CE-BB9C-3743F572EC2C}"/>
              </a:ext>
            </a:extLst>
          </p:cNvPr>
          <p:cNvGrpSpPr/>
          <p:nvPr userDrawn="1"/>
        </p:nvGrpSpPr>
        <p:grpSpPr>
          <a:xfrm>
            <a:off x="10234932" y="5043296"/>
            <a:ext cx="1381760" cy="1428161"/>
            <a:chOff x="0" y="0"/>
            <a:chExt cx="1060600" cy="1114925"/>
          </a:xfrm>
        </p:grpSpPr>
        <p:sp>
          <p:nvSpPr>
            <p:cNvPr id="34" name="Google Shape;301;p37">
              <a:extLst>
                <a:ext uri="{FF2B5EF4-FFF2-40B4-BE49-F238E27FC236}">
                  <a16:creationId xmlns:a16="http://schemas.microsoft.com/office/drawing/2014/main" id="{2EBEDB48-71DF-4C2A-BD77-35E19189232A}"/>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5" name="Google Shape;302;p37">
              <a:extLst>
                <a:ext uri="{FF2B5EF4-FFF2-40B4-BE49-F238E27FC236}">
                  <a16:creationId xmlns:a16="http://schemas.microsoft.com/office/drawing/2014/main" id="{AE1AC300-EF3E-4835-A1EE-CC9189A68697}"/>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6" name="Google Shape;303;p37">
              <a:extLst>
                <a:ext uri="{FF2B5EF4-FFF2-40B4-BE49-F238E27FC236}">
                  <a16:creationId xmlns:a16="http://schemas.microsoft.com/office/drawing/2014/main" id="{FE7532A3-4115-4C43-86A2-4F3AC8ECA9D7}"/>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7" name="Google Shape;304;p37">
              <a:extLst>
                <a:ext uri="{FF2B5EF4-FFF2-40B4-BE49-F238E27FC236}">
                  <a16:creationId xmlns:a16="http://schemas.microsoft.com/office/drawing/2014/main" id="{B86D9B73-C442-47E1-9A52-2E28EC8DAFF6}"/>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8" name="Google Shape;305;p37">
              <a:extLst>
                <a:ext uri="{FF2B5EF4-FFF2-40B4-BE49-F238E27FC236}">
                  <a16:creationId xmlns:a16="http://schemas.microsoft.com/office/drawing/2014/main" id="{12ED333C-C5F0-4CFB-ACBC-4936367BC83B}"/>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9" name="Google Shape;306;p37">
              <a:extLst>
                <a:ext uri="{FF2B5EF4-FFF2-40B4-BE49-F238E27FC236}">
                  <a16:creationId xmlns:a16="http://schemas.microsoft.com/office/drawing/2014/main" id="{99DA13B5-76A7-48B9-90A9-59F55AD9ADDD}"/>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0" name="Google Shape;307;p37">
              <a:extLst>
                <a:ext uri="{FF2B5EF4-FFF2-40B4-BE49-F238E27FC236}">
                  <a16:creationId xmlns:a16="http://schemas.microsoft.com/office/drawing/2014/main" id="{6C43807A-9E2E-4495-A2CD-0D95193D095E}"/>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1" name="Google Shape;308;p37">
              <a:extLst>
                <a:ext uri="{FF2B5EF4-FFF2-40B4-BE49-F238E27FC236}">
                  <a16:creationId xmlns:a16="http://schemas.microsoft.com/office/drawing/2014/main" id="{6ADFD19A-177A-4E11-A30D-48652BCEED46}"/>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2" name="Google Shape;309;p37">
              <a:extLst>
                <a:ext uri="{FF2B5EF4-FFF2-40B4-BE49-F238E27FC236}">
                  <a16:creationId xmlns:a16="http://schemas.microsoft.com/office/drawing/2014/main" id="{980C309C-D98D-4BC0-80B4-67AA859D274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3" name="Google Shape;310;p37">
              <a:extLst>
                <a:ext uri="{FF2B5EF4-FFF2-40B4-BE49-F238E27FC236}">
                  <a16:creationId xmlns:a16="http://schemas.microsoft.com/office/drawing/2014/main" id="{0974C0AE-34FE-4874-B073-4B8F931D8CED}"/>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4" name="Google Shape;311;p37">
              <a:extLst>
                <a:ext uri="{FF2B5EF4-FFF2-40B4-BE49-F238E27FC236}">
                  <a16:creationId xmlns:a16="http://schemas.microsoft.com/office/drawing/2014/main" id="{E636AD03-9F8C-4878-9B97-81093452BAED}"/>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2" name="Slide Number Placeholder 1">
            <a:extLst>
              <a:ext uri="{FF2B5EF4-FFF2-40B4-BE49-F238E27FC236}">
                <a16:creationId xmlns:a16="http://schemas.microsoft.com/office/drawing/2014/main" id="{033F84BD-0008-2E81-4C2E-0A04683EAC10}"/>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1372324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NOTES PAGE_NO LINES">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5080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33481"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7" name="Rectangle: Rounded Corners 6">
            <a:extLst>
              <a:ext uri="{FF2B5EF4-FFF2-40B4-BE49-F238E27FC236}">
                <a16:creationId xmlns:a16="http://schemas.microsoft.com/office/drawing/2014/main" id="{B010EA47-4C5C-49EB-A69D-D0A21BE4735C}"/>
              </a:ext>
            </a:extLst>
          </p:cNvPr>
          <p:cNvSpPr/>
          <p:nvPr userDrawn="1"/>
        </p:nvSpPr>
        <p:spPr>
          <a:xfrm>
            <a:off x="4801415" y="996972"/>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D51E019A-245B-4E0B-B864-90683F6AECF2}"/>
              </a:ext>
            </a:extLst>
          </p:cNvPr>
          <p:cNvSpPr/>
          <p:nvPr userDrawn="1"/>
        </p:nvSpPr>
        <p:spPr>
          <a:xfrm>
            <a:off x="8581648" y="996972"/>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7015ADE4-5BC5-4D7C-87CE-574134FFD385}"/>
              </a:ext>
            </a:extLst>
          </p:cNvPr>
          <p:cNvSpPr/>
          <p:nvPr userDrawn="1"/>
        </p:nvSpPr>
        <p:spPr>
          <a:xfrm>
            <a:off x="214334" y="1441802"/>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713E4885-1DD0-4F60-BD87-A2BF20B02563}"/>
              </a:ext>
            </a:extLst>
          </p:cNvPr>
          <p:cNvSpPr/>
          <p:nvPr userDrawn="1"/>
        </p:nvSpPr>
        <p:spPr>
          <a:xfrm>
            <a:off x="309505" y="1394753"/>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51172AE3-15A4-4C0B-96BF-46AB5C7BFD17}"/>
              </a:ext>
            </a:extLst>
          </p:cNvPr>
          <p:cNvSpPr/>
          <p:nvPr userDrawn="1"/>
        </p:nvSpPr>
        <p:spPr>
          <a:xfrm>
            <a:off x="391902" y="1346200"/>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A186C83-D957-408A-95BB-404DC8AFB447}"/>
              </a:ext>
            </a:extLst>
          </p:cNvPr>
          <p:cNvSpPr/>
          <p:nvPr userDrawn="1"/>
        </p:nvSpPr>
        <p:spPr>
          <a:xfrm>
            <a:off x="785298" y="996972"/>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3" name="Google Shape;300;p37">
            <a:extLst>
              <a:ext uri="{FF2B5EF4-FFF2-40B4-BE49-F238E27FC236}">
                <a16:creationId xmlns:a16="http://schemas.microsoft.com/office/drawing/2014/main" id="{42364757-2F22-41CE-BB9C-3743F572EC2C}"/>
              </a:ext>
            </a:extLst>
          </p:cNvPr>
          <p:cNvGrpSpPr/>
          <p:nvPr userDrawn="1"/>
        </p:nvGrpSpPr>
        <p:grpSpPr>
          <a:xfrm>
            <a:off x="10234932" y="5043296"/>
            <a:ext cx="1381760" cy="1428161"/>
            <a:chOff x="0" y="0"/>
            <a:chExt cx="1060600" cy="1114925"/>
          </a:xfrm>
        </p:grpSpPr>
        <p:sp>
          <p:nvSpPr>
            <p:cNvPr id="34" name="Google Shape;301;p37">
              <a:extLst>
                <a:ext uri="{FF2B5EF4-FFF2-40B4-BE49-F238E27FC236}">
                  <a16:creationId xmlns:a16="http://schemas.microsoft.com/office/drawing/2014/main" id="{2EBEDB48-71DF-4C2A-BD77-35E19189232A}"/>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5" name="Google Shape;302;p37">
              <a:extLst>
                <a:ext uri="{FF2B5EF4-FFF2-40B4-BE49-F238E27FC236}">
                  <a16:creationId xmlns:a16="http://schemas.microsoft.com/office/drawing/2014/main" id="{AE1AC300-EF3E-4835-A1EE-CC9189A68697}"/>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6" name="Google Shape;303;p37">
              <a:extLst>
                <a:ext uri="{FF2B5EF4-FFF2-40B4-BE49-F238E27FC236}">
                  <a16:creationId xmlns:a16="http://schemas.microsoft.com/office/drawing/2014/main" id="{FE7532A3-4115-4C43-86A2-4F3AC8ECA9D7}"/>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7" name="Google Shape;304;p37">
              <a:extLst>
                <a:ext uri="{FF2B5EF4-FFF2-40B4-BE49-F238E27FC236}">
                  <a16:creationId xmlns:a16="http://schemas.microsoft.com/office/drawing/2014/main" id="{B86D9B73-C442-47E1-9A52-2E28EC8DAFF6}"/>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8" name="Google Shape;305;p37">
              <a:extLst>
                <a:ext uri="{FF2B5EF4-FFF2-40B4-BE49-F238E27FC236}">
                  <a16:creationId xmlns:a16="http://schemas.microsoft.com/office/drawing/2014/main" id="{12ED333C-C5F0-4CFB-ACBC-4936367BC83B}"/>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9" name="Google Shape;306;p37">
              <a:extLst>
                <a:ext uri="{FF2B5EF4-FFF2-40B4-BE49-F238E27FC236}">
                  <a16:creationId xmlns:a16="http://schemas.microsoft.com/office/drawing/2014/main" id="{99DA13B5-76A7-48B9-90A9-59F55AD9ADDD}"/>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0" name="Google Shape;307;p37">
              <a:extLst>
                <a:ext uri="{FF2B5EF4-FFF2-40B4-BE49-F238E27FC236}">
                  <a16:creationId xmlns:a16="http://schemas.microsoft.com/office/drawing/2014/main" id="{6C43807A-9E2E-4495-A2CD-0D95193D095E}"/>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1" name="Google Shape;308;p37">
              <a:extLst>
                <a:ext uri="{FF2B5EF4-FFF2-40B4-BE49-F238E27FC236}">
                  <a16:creationId xmlns:a16="http://schemas.microsoft.com/office/drawing/2014/main" id="{6ADFD19A-177A-4E11-A30D-48652BCEED46}"/>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2" name="Google Shape;309;p37">
              <a:extLst>
                <a:ext uri="{FF2B5EF4-FFF2-40B4-BE49-F238E27FC236}">
                  <a16:creationId xmlns:a16="http://schemas.microsoft.com/office/drawing/2014/main" id="{980C309C-D98D-4BC0-80B4-67AA859D274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3" name="Google Shape;310;p37">
              <a:extLst>
                <a:ext uri="{FF2B5EF4-FFF2-40B4-BE49-F238E27FC236}">
                  <a16:creationId xmlns:a16="http://schemas.microsoft.com/office/drawing/2014/main" id="{0974C0AE-34FE-4874-B073-4B8F931D8CED}"/>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4" name="Google Shape;311;p37">
              <a:extLst>
                <a:ext uri="{FF2B5EF4-FFF2-40B4-BE49-F238E27FC236}">
                  <a16:creationId xmlns:a16="http://schemas.microsoft.com/office/drawing/2014/main" id="{E636AD03-9F8C-4878-9B97-81093452BAED}"/>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4" name="Text Placeholder 3">
            <a:extLst>
              <a:ext uri="{FF2B5EF4-FFF2-40B4-BE49-F238E27FC236}">
                <a16:creationId xmlns:a16="http://schemas.microsoft.com/office/drawing/2014/main" id="{4A7C25AF-998D-B81E-FC24-65220BF2AA43}"/>
              </a:ext>
            </a:extLst>
          </p:cNvPr>
          <p:cNvSpPr>
            <a:spLocks noGrp="1"/>
          </p:cNvSpPr>
          <p:nvPr>
            <p:ph type="body" sz="quarter" idx="10" hasCustomPrompt="1"/>
          </p:nvPr>
        </p:nvSpPr>
        <p:spPr>
          <a:xfrm>
            <a:off x="565309" y="1742074"/>
            <a:ext cx="9968553" cy="4615441"/>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2" name="Slide Number Placeholder 1">
            <a:extLst>
              <a:ext uri="{FF2B5EF4-FFF2-40B4-BE49-F238E27FC236}">
                <a16:creationId xmlns:a16="http://schemas.microsoft.com/office/drawing/2014/main" id="{C2AE90C8-7045-07BE-3460-24684A778F80}"/>
              </a:ext>
            </a:extLst>
          </p:cNvPr>
          <p:cNvSpPr>
            <a:spLocks noGrp="1"/>
          </p:cNvSpPr>
          <p:nvPr>
            <p:ph type="sldNum" sz="quarter" idx="11"/>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98700688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LANK PAGE 2">
    <p:spTree>
      <p:nvGrpSpPr>
        <p:cNvPr id="1" name=""/>
        <p:cNvGrpSpPr/>
        <p:nvPr/>
      </p:nvGrpSpPr>
      <p:grpSpPr>
        <a:xfrm>
          <a:off x="0" y="0"/>
          <a:ext cx="0" cy="0"/>
          <a:chOff x="0" y="0"/>
          <a:chExt cx="0" cy="0"/>
        </a:xfrm>
      </p:grpSpPr>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2" name="Text Placeholder 4">
            <a:extLst>
              <a:ext uri="{FF2B5EF4-FFF2-40B4-BE49-F238E27FC236}">
                <a16:creationId xmlns:a16="http://schemas.microsoft.com/office/drawing/2014/main" id="{9C22D1EB-BC1E-94BA-C864-34654309C6EE}"/>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2F14596-198E-0B2F-E596-F73B06DA0D0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67474997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LF REFLECTION P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grpSp>
        <p:nvGrpSpPr>
          <p:cNvPr id="73" name="Group 72">
            <a:extLst>
              <a:ext uri="{FF2B5EF4-FFF2-40B4-BE49-F238E27FC236}">
                <a16:creationId xmlns:a16="http://schemas.microsoft.com/office/drawing/2014/main" id="{E4777B42-32A3-4712-8778-BC1FBB94A9A4}"/>
              </a:ext>
            </a:extLst>
          </p:cNvPr>
          <p:cNvGrpSpPr/>
          <p:nvPr userDrawn="1"/>
        </p:nvGrpSpPr>
        <p:grpSpPr>
          <a:xfrm>
            <a:off x="328402" y="1626178"/>
            <a:ext cx="3684798" cy="4914531"/>
            <a:chOff x="391902" y="1626178"/>
            <a:chExt cx="3684798" cy="4914531"/>
          </a:xfrm>
        </p:grpSpPr>
        <p:sp>
          <p:nvSpPr>
            <p:cNvPr id="32" name="Rectangle: Rounded Corners 31">
              <a:extLst>
                <a:ext uri="{FF2B5EF4-FFF2-40B4-BE49-F238E27FC236}">
                  <a16:creationId xmlns:a16="http://schemas.microsoft.com/office/drawing/2014/main" id="{F42498E7-9A6A-4427-8E01-F3E38A5DD94C}"/>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44" name="Straight Connector 43">
              <a:extLst>
                <a:ext uri="{FF2B5EF4-FFF2-40B4-BE49-F238E27FC236}">
                  <a16:creationId xmlns:a16="http://schemas.microsoft.com/office/drawing/2014/main" id="{3FD2213E-8523-42D2-8A46-34DF2FE69AEE}"/>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EA5F2B6-D2DA-477F-A7BB-C5F24C00ED62}"/>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06BB17-9F17-4D34-9AE9-A57C30122A74}"/>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D38048B-4C19-4DEB-AB7A-507707188C0A}"/>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E75C617-67A6-4165-BE30-B8277F4D8427}"/>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8B7A866-C123-425A-8015-130AB6D8003B}"/>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B223D01-9167-482A-AB67-82CA2B4EAA2D}"/>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1123CBF-88DA-406B-8D3D-78251EE82CC3}"/>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879ED9-8608-4F51-B564-A6BCB01EE0A8}"/>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00EBBB3-58C6-4497-95B8-94050387DEE3}"/>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DA6CEE-66D2-4A78-8B72-EB96849FD216}"/>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1B73F90-12F4-46FD-BA1E-CBA4A1AA02FE}"/>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D034444-C5D7-4C42-B856-DAA9DE48B9CC}"/>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55C2D1C-12D0-48EA-AD95-8963A2AD9590}"/>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1199480-8A3D-4134-8205-81D8882D465A}"/>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8FB9A94-1E1C-437D-9EAE-EF02563B0EFD}"/>
                </a:ext>
              </a:extLst>
            </p:cNvPr>
            <p:cNvSpPr txBox="1"/>
            <p:nvPr userDrawn="1"/>
          </p:nvSpPr>
          <p:spPr>
            <a:xfrm flipH="1">
              <a:off x="4681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What did you learn from this session? How was it useful?</a:t>
              </a:r>
            </a:p>
          </p:txBody>
        </p:sp>
      </p:grpSp>
      <p:sp>
        <p:nvSpPr>
          <p:cNvPr id="45" name="Rectangle: Rounded Corners 44">
            <a:extLst>
              <a:ext uri="{FF2B5EF4-FFF2-40B4-BE49-F238E27FC236}">
                <a16:creationId xmlns:a16="http://schemas.microsoft.com/office/drawing/2014/main" id="{12D3229C-0AB6-4C9A-BC60-EC460FCEFE37}"/>
              </a:ext>
            </a:extLst>
          </p:cNvPr>
          <p:cNvSpPr/>
          <p:nvPr userDrawn="1"/>
        </p:nvSpPr>
        <p:spPr>
          <a:xfrm>
            <a:off x="419415" y="1451426"/>
            <a:ext cx="1353425" cy="239934"/>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4" name="Group 73">
            <a:extLst>
              <a:ext uri="{FF2B5EF4-FFF2-40B4-BE49-F238E27FC236}">
                <a16:creationId xmlns:a16="http://schemas.microsoft.com/office/drawing/2014/main" id="{A1E1A978-B4C1-419A-9F1C-98542ED88BA1}"/>
              </a:ext>
            </a:extLst>
          </p:cNvPr>
          <p:cNvGrpSpPr/>
          <p:nvPr userDrawn="1"/>
        </p:nvGrpSpPr>
        <p:grpSpPr>
          <a:xfrm>
            <a:off x="4284068" y="1626177"/>
            <a:ext cx="3684798" cy="4914531"/>
            <a:chOff x="391902" y="1626178"/>
            <a:chExt cx="3684798" cy="4914531"/>
          </a:xfrm>
        </p:grpSpPr>
        <p:sp>
          <p:nvSpPr>
            <p:cNvPr id="75" name="Rectangle: Rounded Corners 74">
              <a:extLst>
                <a:ext uri="{FF2B5EF4-FFF2-40B4-BE49-F238E27FC236}">
                  <a16:creationId xmlns:a16="http://schemas.microsoft.com/office/drawing/2014/main" id="{B77E976E-7E2D-437E-A7A8-F335D914D0D7}"/>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76" name="Straight Connector 75">
              <a:extLst>
                <a:ext uri="{FF2B5EF4-FFF2-40B4-BE49-F238E27FC236}">
                  <a16:creationId xmlns:a16="http://schemas.microsoft.com/office/drawing/2014/main" id="{C1069C92-64D5-4E19-95D4-61581EDF0B15}"/>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1E749D5-CEB3-4DE6-AB18-727DB76EBB2B}"/>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89807CE-341D-40A4-80CC-E23E76568B3E}"/>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E075A6A-A3EB-4E48-BCA1-97D67D92B277}"/>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00C4848-7901-4792-82B5-62434A3421AA}"/>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8121E0-3EC1-46F4-8833-233B454079BA}"/>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F16D176-B3CF-4C12-BE01-F7BEA3EAA513}"/>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D8D89E5-6ACE-4446-9D7B-F4ED0BDD88C4}"/>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F816A47-D34D-480F-ABD5-08B5B12719CA}"/>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650C147-CA50-4E93-81CD-E1340DD5CEA9}"/>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15B4673-3480-41B7-9E17-D4E973A58E28}"/>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3E357EE-12D2-4878-A574-F4E063B6E774}"/>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DFE2E28-7C73-4FBE-9215-6E8D64C56C62}"/>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BABEAED-EB10-4094-89AC-29EA7248FAD4}"/>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9BD8221-452E-46B3-BDF3-3441019DBFF2}"/>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FD88F49-5DDD-48A5-A784-DD5B0EDE8C56}"/>
                </a:ext>
              </a:extLst>
            </p:cNvPr>
            <p:cNvSpPr txBox="1"/>
            <p:nvPr userDrawn="1"/>
          </p:nvSpPr>
          <p:spPr>
            <a:xfrm flipH="1">
              <a:off x="4681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plan to put in practice whay you learned?</a:t>
              </a:r>
            </a:p>
          </p:txBody>
        </p:sp>
      </p:grpSp>
      <p:sp>
        <p:nvSpPr>
          <p:cNvPr id="55" name="Rectangle: Rounded Corners 54">
            <a:extLst>
              <a:ext uri="{FF2B5EF4-FFF2-40B4-BE49-F238E27FC236}">
                <a16:creationId xmlns:a16="http://schemas.microsoft.com/office/drawing/2014/main" id="{26DA2E06-BF6F-44F2-889F-FB74EF488502}"/>
              </a:ext>
            </a:extLst>
          </p:cNvPr>
          <p:cNvSpPr/>
          <p:nvPr userDrawn="1"/>
        </p:nvSpPr>
        <p:spPr>
          <a:xfrm>
            <a:off x="4358952" y="1472339"/>
            <a:ext cx="1365699" cy="239934"/>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2" name="Group 91">
            <a:extLst>
              <a:ext uri="{FF2B5EF4-FFF2-40B4-BE49-F238E27FC236}">
                <a16:creationId xmlns:a16="http://schemas.microsoft.com/office/drawing/2014/main" id="{8257BD7D-96C3-470C-8BBA-18F14DC4CDCE}"/>
              </a:ext>
            </a:extLst>
          </p:cNvPr>
          <p:cNvGrpSpPr/>
          <p:nvPr userDrawn="1"/>
        </p:nvGrpSpPr>
        <p:grpSpPr>
          <a:xfrm>
            <a:off x="8197624" y="1636464"/>
            <a:ext cx="3684798" cy="4914531"/>
            <a:chOff x="391902" y="1626178"/>
            <a:chExt cx="3684798" cy="4914531"/>
          </a:xfrm>
        </p:grpSpPr>
        <p:sp>
          <p:nvSpPr>
            <p:cNvPr id="93" name="Rectangle: Rounded Corners 92">
              <a:extLst>
                <a:ext uri="{FF2B5EF4-FFF2-40B4-BE49-F238E27FC236}">
                  <a16:creationId xmlns:a16="http://schemas.microsoft.com/office/drawing/2014/main" id="{AE62B214-39C7-4E08-B99C-79B7A172F05E}"/>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94" name="Straight Connector 93">
              <a:extLst>
                <a:ext uri="{FF2B5EF4-FFF2-40B4-BE49-F238E27FC236}">
                  <a16:creationId xmlns:a16="http://schemas.microsoft.com/office/drawing/2014/main" id="{19181C3A-4B1E-4F0C-9C89-FCEF56D5234F}"/>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394C08C-C088-41B0-967F-05736211CAA5}"/>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4D1A2AA-2BA7-4C16-A821-2991DC92020B}"/>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27E3DAA-5E4D-4F48-990E-4006CCF46321}"/>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0106E8-6FFB-48F2-901D-63AB56838A95}"/>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7E58FEF-EB3C-4EE0-96CC-63663E26DCA2}"/>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D5D51AA-9A1D-4296-AD3E-02B435DD2D36}"/>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28748E1-E4D7-42EB-9F92-FDD3B01516C7}"/>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F2D685A-7EA4-47F4-A90F-D8E013517E5B}"/>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6D3BE50-E595-4D8F-B054-9B5651C6CF2E}"/>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92DDDFE-432C-46EE-8E90-FC12B83D3DDA}"/>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49B70D6-F247-46B4-B4AB-04C1E9C31D45}"/>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50169AD-E2DF-4EC9-A40F-9A6095CBC78A}"/>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D672CA9-2146-484E-8C91-4C0E672B53FD}"/>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C0DEBBC-1796-4814-9F26-ABB5BD2827CC}"/>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2AF0CA33-BBE3-4B91-9FAE-B904C1FA83B8}"/>
                </a:ext>
              </a:extLst>
            </p:cNvPr>
            <p:cNvSpPr txBox="1"/>
            <p:nvPr userDrawn="1"/>
          </p:nvSpPr>
          <p:spPr>
            <a:xfrm flipH="1">
              <a:off x="4681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think this learning will be useful for you in the future?</a:t>
              </a:r>
            </a:p>
          </p:txBody>
        </p:sp>
      </p:grpSp>
      <p:sp>
        <p:nvSpPr>
          <p:cNvPr id="56" name="Rectangle: Rounded Corners 55">
            <a:extLst>
              <a:ext uri="{FF2B5EF4-FFF2-40B4-BE49-F238E27FC236}">
                <a16:creationId xmlns:a16="http://schemas.microsoft.com/office/drawing/2014/main" id="{22D6ED94-01B1-4EA3-A18D-BF7375C8FBE1}"/>
              </a:ext>
            </a:extLst>
          </p:cNvPr>
          <p:cNvSpPr/>
          <p:nvPr userDrawn="1"/>
        </p:nvSpPr>
        <p:spPr>
          <a:xfrm>
            <a:off x="8282161" y="1489653"/>
            <a:ext cx="1365699" cy="239934"/>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0" name="Google Shape;300;p37">
            <a:extLst>
              <a:ext uri="{FF2B5EF4-FFF2-40B4-BE49-F238E27FC236}">
                <a16:creationId xmlns:a16="http://schemas.microsoft.com/office/drawing/2014/main" id="{CE3E6607-FC55-40FA-A765-40FE8C944B46}"/>
              </a:ext>
            </a:extLst>
          </p:cNvPr>
          <p:cNvGrpSpPr/>
          <p:nvPr userDrawn="1"/>
        </p:nvGrpSpPr>
        <p:grpSpPr>
          <a:xfrm>
            <a:off x="10923183" y="5555438"/>
            <a:ext cx="840105" cy="880745"/>
            <a:chOff x="0" y="0"/>
            <a:chExt cx="1060600" cy="1114925"/>
          </a:xfrm>
        </p:grpSpPr>
        <p:sp>
          <p:nvSpPr>
            <p:cNvPr id="111" name="Google Shape;301;p37">
              <a:extLst>
                <a:ext uri="{FF2B5EF4-FFF2-40B4-BE49-F238E27FC236}">
                  <a16:creationId xmlns:a16="http://schemas.microsoft.com/office/drawing/2014/main" id="{9CBB221F-6297-48D9-A883-BCC6E06996E5}"/>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2" name="Google Shape;302;p37">
              <a:extLst>
                <a:ext uri="{FF2B5EF4-FFF2-40B4-BE49-F238E27FC236}">
                  <a16:creationId xmlns:a16="http://schemas.microsoft.com/office/drawing/2014/main" id="{0B1B3005-D22D-4E6A-8FAE-8B3C089D8F15}"/>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3" name="Google Shape;303;p37">
              <a:extLst>
                <a:ext uri="{FF2B5EF4-FFF2-40B4-BE49-F238E27FC236}">
                  <a16:creationId xmlns:a16="http://schemas.microsoft.com/office/drawing/2014/main" id="{673753D7-EF20-4AE0-9A49-632F7028FE46}"/>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4" name="Google Shape;304;p37">
              <a:extLst>
                <a:ext uri="{FF2B5EF4-FFF2-40B4-BE49-F238E27FC236}">
                  <a16:creationId xmlns:a16="http://schemas.microsoft.com/office/drawing/2014/main" id="{5C615259-F451-4473-A584-3CCFCB935B5E}"/>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5" name="Google Shape;305;p37">
              <a:extLst>
                <a:ext uri="{FF2B5EF4-FFF2-40B4-BE49-F238E27FC236}">
                  <a16:creationId xmlns:a16="http://schemas.microsoft.com/office/drawing/2014/main" id="{D2535FE0-98DB-4BDF-ABC8-6DFBEA5488A6}"/>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6" name="Google Shape;306;p37">
              <a:extLst>
                <a:ext uri="{FF2B5EF4-FFF2-40B4-BE49-F238E27FC236}">
                  <a16:creationId xmlns:a16="http://schemas.microsoft.com/office/drawing/2014/main" id="{CD08A068-21FB-43E0-B392-92C70169D551}"/>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7" name="Google Shape;307;p37">
              <a:extLst>
                <a:ext uri="{FF2B5EF4-FFF2-40B4-BE49-F238E27FC236}">
                  <a16:creationId xmlns:a16="http://schemas.microsoft.com/office/drawing/2014/main" id="{7004FC27-66B6-4C50-A7DD-AED6848D5020}"/>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8" name="Google Shape;308;p37">
              <a:extLst>
                <a:ext uri="{FF2B5EF4-FFF2-40B4-BE49-F238E27FC236}">
                  <a16:creationId xmlns:a16="http://schemas.microsoft.com/office/drawing/2014/main" id="{3F1D5CC3-C0EB-46E4-B417-800EDC8B8E14}"/>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9" name="Google Shape;309;p37">
              <a:extLst>
                <a:ext uri="{FF2B5EF4-FFF2-40B4-BE49-F238E27FC236}">
                  <a16:creationId xmlns:a16="http://schemas.microsoft.com/office/drawing/2014/main" id="{D2023F45-D368-45F8-A480-815665BE826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0" name="Google Shape;310;p37">
              <a:extLst>
                <a:ext uri="{FF2B5EF4-FFF2-40B4-BE49-F238E27FC236}">
                  <a16:creationId xmlns:a16="http://schemas.microsoft.com/office/drawing/2014/main" id="{C1795A1C-49F1-405A-84D7-EB35095FF737}"/>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1" name="Google Shape;311;p37">
              <a:extLst>
                <a:ext uri="{FF2B5EF4-FFF2-40B4-BE49-F238E27FC236}">
                  <a16:creationId xmlns:a16="http://schemas.microsoft.com/office/drawing/2014/main" id="{6039D46A-928A-4370-9A63-EA0CA268852B}"/>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grpSp>
        <p:nvGrpSpPr>
          <p:cNvPr id="122" name="Google Shape;312;p37">
            <a:extLst>
              <a:ext uri="{FF2B5EF4-FFF2-40B4-BE49-F238E27FC236}">
                <a16:creationId xmlns:a16="http://schemas.microsoft.com/office/drawing/2014/main" id="{4D11FDE0-6B4F-4C9D-8456-0914AE2A162C}"/>
              </a:ext>
            </a:extLst>
          </p:cNvPr>
          <p:cNvGrpSpPr/>
          <p:nvPr userDrawn="1"/>
        </p:nvGrpSpPr>
        <p:grpSpPr>
          <a:xfrm>
            <a:off x="387283" y="2379285"/>
            <a:ext cx="866775" cy="647700"/>
            <a:chOff x="0" y="0"/>
            <a:chExt cx="916225" cy="660225"/>
          </a:xfrm>
        </p:grpSpPr>
        <p:sp>
          <p:nvSpPr>
            <p:cNvPr id="123" name="Google Shape;313;p37">
              <a:extLst>
                <a:ext uri="{FF2B5EF4-FFF2-40B4-BE49-F238E27FC236}">
                  <a16:creationId xmlns:a16="http://schemas.microsoft.com/office/drawing/2014/main" id="{DF79A7DF-6896-4E54-8E1E-3DA55AB53B22}"/>
                </a:ext>
              </a:extLst>
            </p:cNvPr>
            <p:cNvSpPr/>
            <p:nvPr userDrawn="1"/>
          </p:nvSpPr>
          <p:spPr>
            <a:xfrm>
              <a:off x="0" y="0"/>
              <a:ext cx="916225" cy="660225"/>
            </a:xfrm>
            <a:custGeom>
              <a:avLst/>
              <a:gdLst/>
              <a:ahLst/>
              <a:cxnLst/>
              <a:rect l="l" t="t" r="r" b="b"/>
              <a:pathLst>
                <a:path w="36649" h="26409" extrusionOk="0">
                  <a:moveTo>
                    <a:pt x="22990" y="1502"/>
                  </a:moveTo>
                  <a:cubicBezTo>
                    <a:pt x="24636" y="1502"/>
                    <a:pt x="26251" y="1775"/>
                    <a:pt x="27734" y="2504"/>
                  </a:cubicBezTo>
                  <a:cubicBezTo>
                    <a:pt x="34704" y="5931"/>
                    <a:pt x="35360" y="15588"/>
                    <a:pt x="28935" y="19943"/>
                  </a:cubicBezTo>
                  <a:cubicBezTo>
                    <a:pt x="28675" y="20118"/>
                    <a:pt x="28439" y="20497"/>
                    <a:pt x="28574" y="20826"/>
                  </a:cubicBezTo>
                  <a:cubicBezTo>
                    <a:pt x="29254" y="22480"/>
                    <a:pt x="30274" y="23815"/>
                    <a:pt x="31605" y="24830"/>
                  </a:cubicBezTo>
                  <a:cubicBezTo>
                    <a:pt x="29557" y="24651"/>
                    <a:pt x="27668" y="23543"/>
                    <a:pt x="26518" y="21715"/>
                  </a:cubicBezTo>
                  <a:cubicBezTo>
                    <a:pt x="26364" y="21470"/>
                    <a:pt x="26128" y="21352"/>
                    <a:pt x="25885" y="21352"/>
                  </a:cubicBezTo>
                  <a:cubicBezTo>
                    <a:pt x="25695" y="21352"/>
                    <a:pt x="25502" y="21424"/>
                    <a:pt x="25338" y="21563"/>
                  </a:cubicBezTo>
                  <a:cubicBezTo>
                    <a:pt x="22839" y="23686"/>
                    <a:pt x="19493" y="24773"/>
                    <a:pt x="16164" y="24773"/>
                  </a:cubicBezTo>
                  <a:cubicBezTo>
                    <a:pt x="11835" y="24773"/>
                    <a:pt x="7535" y="22936"/>
                    <a:pt x="5160" y="19152"/>
                  </a:cubicBezTo>
                  <a:cubicBezTo>
                    <a:pt x="2622" y="15107"/>
                    <a:pt x="4899" y="10120"/>
                    <a:pt x="7851" y="6959"/>
                  </a:cubicBezTo>
                  <a:cubicBezTo>
                    <a:pt x="8283" y="6499"/>
                    <a:pt x="8743" y="6066"/>
                    <a:pt x="9230" y="5662"/>
                  </a:cubicBezTo>
                  <a:cubicBezTo>
                    <a:pt x="11347" y="4267"/>
                    <a:pt x="13707" y="3260"/>
                    <a:pt x="16182" y="2604"/>
                  </a:cubicBezTo>
                  <a:cubicBezTo>
                    <a:pt x="18320" y="2038"/>
                    <a:pt x="20684" y="1502"/>
                    <a:pt x="22990" y="1502"/>
                  </a:cubicBezTo>
                  <a:close/>
                  <a:moveTo>
                    <a:pt x="22921" y="0"/>
                  </a:moveTo>
                  <a:cubicBezTo>
                    <a:pt x="20883" y="0"/>
                    <a:pt x="18812" y="363"/>
                    <a:pt x="16843" y="849"/>
                  </a:cubicBezTo>
                  <a:cubicBezTo>
                    <a:pt x="15554" y="1167"/>
                    <a:pt x="14293" y="1584"/>
                    <a:pt x="13082" y="2104"/>
                  </a:cubicBezTo>
                  <a:cubicBezTo>
                    <a:pt x="6225" y="4767"/>
                    <a:pt x="1" y="12892"/>
                    <a:pt x="3814" y="19616"/>
                  </a:cubicBezTo>
                  <a:cubicBezTo>
                    <a:pt x="6346" y="24082"/>
                    <a:pt x="11197" y="26196"/>
                    <a:pt x="16102" y="26196"/>
                  </a:cubicBezTo>
                  <a:cubicBezTo>
                    <a:pt x="19536" y="26196"/>
                    <a:pt x="22996" y="25160"/>
                    <a:pt x="25706" y="23169"/>
                  </a:cubicBezTo>
                  <a:cubicBezTo>
                    <a:pt x="27286" y="25232"/>
                    <a:pt x="29698" y="26409"/>
                    <a:pt x="32242" y="26409"/>
                  </a:cubicBezTo>
                  <a:cubicBezTo>
                    <a:pt x="32931" y="26409"/>
                    <a:pt x="33630" y="26323"/>
                    <a:pt x="34324" y="26144"/>
                  </a:cubicBezTo>
                  <a:cubicBezTo>
                    <a:pt x="35137" y="25935"/>
                    <a:pt x="34984" y="24910"/>
                    <a:pt x="34324" y="24641"/>
                  </a:cubicBezTo>
                  <a:cubicBezTo>
                    <a:pt x="32541" y="23914"/>
                    <a:pt x="31137" y="22589"/>
                    <a:pt x="30302" y="20875"/>
                  </a:cubicBezTo>
                  <a:cubicBezTo>
                    <a:pt x="36648" y="16007"/>
                    <a:pt x="36480" y="6187"/>
                    <a:pt x="29567" y="1774"/>
                  </a:cubicBezTo>
                  <a:cubicBezTo>
                    <a:pt x="27529" y="473"/>
                    <a:pt x="25246" y="0"/>
                    <a:pt x="22921"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4" name="Google Shape;314;p37">
              <a:extLst>
                <a:ext uri="{FF2B5EF4-FFF2-40B4-BE49-F238E27FC236}">
                  <a16:creationId xmlns:a16="http://schemas.microsoft.com/office/drawing/2014/main" id="{B3F59764-2211-4809-8809-E37EA2A00CB4}"/>
                </a:ext>
              </a:extLst>
            </p:cNvPr>
            <p:cNvSpPr/>
            <p:nvPr userDrawn="1"/>
          </p:nvSpPr>
          <p:spPr>
            <a:xfrm>
              <a:off x="292975" y="392575"/>
              <a:ext cx="44325" cy="37875"/>
            </a:xfrm>
            <a:custGeom>
              <a:avLst/>
              <a:gdLst/>
              <a:ahLst/>
              <a:cxnLst/>
              <a:rect l="l" t="t" r="r" b="b"/>
              <a:pathLst>
                <a:path w="1773" h="1515" extrusionOk="0">
                  <a:moveTo>
                    <a:pt x="894" y="0"/>
                  </a:moveTo>
                  <a:cubicBezTo>
                    <a:pt x="405" y="0"/>
                    <a:pt x="1" y="547"/>
                    <a:pt x="280" y="1044"/>
                  </a:cubicBezTo>
                  <a:cubicBezTo>
                    <a:pt x="405" y="1267"/>
                    <a:pt x="569" y="1455"/>
                    <a:pt x="836" y="1501"/>
                  </a:cubicBezTo>
                  <a:cubicBezTo>
                    <a:pt x="890" y="1510"/>
                    <a:pt x="942" y="1514"/>
                    <a:pt x="992" y="1514"/>
                  </a:cubicBezTo>
                  <a:cubicBezTo>
                    <a:pt x="1457" y="1514"/>
                    <a:pt x="1772" y="1142"/>
                    <a:pt x="1689" y="648"/>
                  </a:cubicBezTo>
                  <a:cubicBezTo>
                    <a:pt x="1644" y="385"/>
                    <a:pt x="1454" y="215"/>
                    <a:pt x="1232" y="91"/>
                  </a:cubicBezTo>
                  <a:cubicBezTo>
                    <a:pt x="1120" y="28"/>
                    <a:pt x="1004" y="0"/>
                    <a:pt x="894"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5" name="Google Shape;315;p37">
              <a:extLst>
                <a:ext uri="{FF2B5EF4-FFF2-40B4-BE49-F238E27FC236}">
                  <a16:creationId xmlns:a16="http://schemas.microsoft.com/office/drawing/2014/main" id="{843EB960-B149-48D2-B2C7-169E954E0593}"/>
                </a:ext>
              </a:extLst>
            </p:cNvPr>
            <p:cNvSpPr/>
            <p:nvPr userDrawn="1"/>
          </p:nvSpPr>
          <p:spPr>
            <a:xfrm>
              <a:off x="389150" y="360000"/>
              <a:ext cx="60225" cy="53675"/>
            </a:xfrm>
            <a:custGeom>
              <a:avLst/>
              <a:gdLst/>
              <a:ahLst/>
              <a:cxnLst/>
              <a:rect l="l" t="t" r="r" b="b"/>
              <a:pathLst>
                <a:path w="2409" h="2147" extrusionOk="0">
                  <a:moveTo>
                    <a:pt x="1180" y="1"/>
                  </a:moveTo>
                  <a:cubicBezTo>
                    <a:pt x="1097" y="1"/>
                    <a:pt x="1013" y="11"/>
                    <a:pt x="927" y="34"/>
                  </a:cubicBezTo>
                  <a:cubicBezTo>
                    <a:pt x="386" y="183"/>
                    <a:pt x="0" y="802"/>
                    <a:pt x="178" y="1352"/>
                  </a:cubicBezTo>
                  <a:cubicBezTo>
                    <a:pt x="321" y="1795"/>
                    <a:pt x="742" y="2147"/>
                    <a:pt x="1208" y="2147"/>
                  </a:cubicBezTo>
                  <a:cubicBezTo>
                    <a:pt x="1303" y="2147"/>
                    <a:pt x="1399" y="2132"/>
                    <a:pt x="1495" y="2101"/>
                  </a:cubicBezTo>
                  <a:cubicBezTo>
                    <a:pt x="2043" y="1923"/>
                    <a:pt x="2408" y="1365"/>
                    <a:pt x="2244" y="783"/>
                  </a:cubicBezTo>
                  <a:cubicBezTo>
                    <a:pt x="2231" y="741"/>
                    <a:pt x="2219" y="700"/>
                    <a:pt x="2209" y="658"/>
                  </a:cubicBezTo>
                  <a:cubicBezTo>
                    <a:pt x="2137" y="379"/>
                    <a:pt x="1900" y="141"/>
                    <a:pt x="1621" y="69"/>
                  </a:cubicBezTo>
                  <a:cubicBezTo>
                    <a:pt x="1473" y="32"/>
                    <a:pt x="1328" y="1"/>
                    <a:pt x="118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6" name="Google Shape;316;p37">
              <a:extLst>
                <a:ext uri="{FF2B5EF4-FFF2-40B4-BE49-F238E27FC236}">
                  <a16:creationId xmlns:a16="http://schemas.microsoft.com/office/drawing/2014/main" id="{7165BA37-08A4-4E09-BB0E-056E6B4D16A6}"/>
                </a:ext>
              </a:extLst>
            </p:cNvPr>
            <p:cNvSpPr/>
            <p:nvPr userDrawn="1"/>
          </p:nvSpPr>
          <p:spPr>
            <a:xfrm>
              <a:off x="474150" y="332650"/>
              <a:ext cx="64550" cy="50050"/>
            </a:xfrm>
            <a:custGeom>
              <a:avLst/>
              <a:gdLst/>
              <a:ahLst/>
              <a:cxnLst/>
              <a:rect l="l" t="t" r="r" b="b"/>
              <a:pathLst>
                <a:path w="2582" h="2002" extrusionOk="0">
                  <a:moveTo>
                    <a:pt x="1291" y="1"/>
                  </a:moveTo>
                  <a:cubicBezTo>
                    <a:pt x="3" y="1"/>
                    <a:pt x="1" y="2002"/>
                    <a:pt x="1291" y="2002"/>
                  </a:cubicBezTo>
                  <a:cubicBezTo>
                    <a:pt x="2579" y="2002"/>
                    <a:pt x="2581" y="1"/>
                    <a:pt x="129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7" name="Google Shape;317;p37">
              <a:extLst>
                <a:ext uri="{FF2B5EF4-FFF2-40B4-BE49-F238E27FC236}">
                  <a16:creationId xmlns:a16="http://schemas.microsoft.com/office/drawing/2014/main" id="{6DE8B1AB-769D-4F9B-82A7-6B291F83E8AC}"/>
                </a:ext>
              </a:extLst>
            </p:cNvPr>
            <p:cNvSpPr/>
            <p:nvPr userDrawn="1"/>
          </p:nvSpPr>
          <p:spPr>
            <a:xfrm>
              <a:off x="576975" y="301125"/>
              <a:ext cx="56125" cy="43525"/>
            </a:xfrm>
            <a:custGeom>
              <a:avLst/>
              <a:gdLst/>
              <a:ahLst/>
              <a:cxnLst/>
              <a:rect l="l" t="t" r="r" b="b"/>
              <a:pathLst>
                <a:path w="2245" h="1741" extrusionOk="0">
                  <a:moveTo>
                    <a:pt x="1123" y="1"/>
                  </a:moveTo>
                  <a:cubicBezTo>
                    <a:pt x="0" y="1"/>
                    <a:pt x="0" y="1741"/>
                    <a:pt x="1123" y="1741"/>
                  </a:cubicBezTo>
                  <a:cubicBezTo>
                    <a:pt x="2242" y="1741"/>
                    <a:pt x="2244" y="1"/>
                    <a:pt x="1123"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128" name="TextBox 127">
            <a:extLst>
              <a:ext uri="{FF2B5EF4-FFF2-40B4-BE49-F238E27FC236}">
                <a16:creationId xmlns:a16="http://schemas.microsoft.com/office/drawing/2014/main" id="{18B1A514-FFCC-4910-B0FD-7A1144DA81CD}"/>
              </a:ext>
            </a:extLst>
          </p:cNvPr>
          <p:cNvSpPr txBox="1"/>
          <p:nvPr userDrawn="1"/>
        </p:nvSpPr>
        <p:spPr>
          <a:xfrm>
            <a:off x="179783" y="192389"/>
            <a:ext cx="7215437"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YOUR REFLECTION – YOUR LEARNING</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CCF5B685-6C23-6746-84D7-1563AEE376E5}"/>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57052463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LF REFLECTION PAGE_NO LINES">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32" name="Rectangle: Rounded Corners 31">
            <a:extLst>
              <a:ext uri="{FF2B5EF4-FFF2-40B4-BE49-F238E27FC236}">
                <a16:creationId xmlns:a16="http://schemas.microsoft.com/office/drawing/2014/main" id="{F42498E7-9A6A-4427-8E01-F3E38A5DD94C}"/>
              </a:ext>
            </a:extLst>
          </p:cNvPr>
          <p:cNvSpPr/>
          <p:nvPr userDrawn="1"/>
        </p:nvSpPr>
        <p:spPr>
          <a:xfrm>
            <a:off x="3284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TextBox 71">
            <a:extLst>
              <a:ext uri="{FF2B5EF4-FFF2-40B4-BE49-F238E27FC236}">
                <a16:creationId xmlns:a16="http://schemas.microsoft.com/office/drawing/2014/main" id="{C8FB9A94-1E1C-437D-9EAE-EF02563B0EFD}"/>
              </a:ext>
            </a:extLst>
          </p:cNvPr>
          <p:cNvSpPr txBox="1"/>
          <p:nvPr userDrawn="1"/>
        </p:nvSpPr>
        <p:spPr>
          <a:xfrm flipH="1">
            <a:off x="4046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What did you learn from this session? How was it useful?</a:t>
            </a:r>
          </a:p>
        </p:txBody>
      </p:sp>
      <p:sp>
        <p:nvSpPr>
          <p:cNvPr id="45" name="Rectangle: Rounded Corners 44">
            <a:extLst>
              <a:ext uri="{FF2B5EF4-FFF2-40B4-BE49-F238E27FC236}">
                <a16:creationId xmlns:a16="http://schemas.microsoft.com/office/drawing/2014/main" id="{12D3229C-0AB6-4C9A-BC60-EC460FCEFE37}"/>
              </a:ext>
            </a:extLst>
          </p:cNvPr>
          <p:cNvSpPr/>
          <p:nvPr userDrawn="1"/>
        </p:nvSpPr>
        <p:spPr>
          <a:xfrm>
            <a:off x="419415" y="1451426"/>
            <a:ext cx="1353425" cy="239934"/>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5" name="Rectangle: Rounded Corners 74">
            <a:extLst>
              <a:ext uri="{FF2B5EF4-FFF2-40B4-BE49-F238E27FC236}">
                <a16:creationId xmlns:a16="http://schemas.microsoft.com/office/drawing/2014/main" id="{B77E976E-7E2D-437E-A7A8-F335D914D0D7}"/>
              </a:ext>
            </a:extLst>
          </p:cNvPr>
          <p:cNvSpPr/>
          <p:nvPr userDrawn="1"/>
        </p:nvSpPr>
        <p:spPr>
          <a:xfrm>
            <a:off x="4284068" y="1626177"/>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TextBox 90">
            <a:extLst>
              <a:ext uri="{FF2B5EF4-FFF2-40B4-BE49-F238E27FC236}">
                <a16:creationId xmlns:a16="http://schemas.microsoft.com/office/drawing/2014/main" id="{4FD88F49-5DDD-48A5-A784-DD5B0EDE8C56}"/>
              </a:ext>
            </a:extLst>
          </p:cNvPr>
          <p:cNvSpPr txBox="1"/>
          <p:nvPr userDrawn="1"/>
        </p:nvSpPr>
        <p:spPr>
          <a:xfrm flipH="1">
            <a:off x="4360268" y="1739038"/>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plan to put in practice whay you learned?</a:t>
            </a:r>
          </a:p>
        </p:txBody>
      </p:sp>
      <p:sp>
        <p:nvSpPr>
          <p:cNvPr id="55" name="Rectangle: Rounded Corners 54">
            <a:extLst>
              <a:ext uri="{FF2B5EF4-FFF2-40B4-BE49-F238E27FC236}">
                <a16:creationId xmlns:a16="http://schemas.microsoft.com/office/drawing/2014/main" id="{26DA2E06-BF6F-44F2-889F-FB74EF488502}"/>
              </a:ext>
            </a:extLst>
          </p:cNvPr>
          <p:cNvSpPr/>
          <p:nvPr userDrawn="1"/>
        </p:nvSpPr>
        <p:spPr>
          <a:xfrm>
            <a:off x="4358952" y="1472339"/>
            <a:ext cx="1365699" cy="239934"/>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Rectangle: Rounded Corners 92">
            <a:extLst>
              <a:ext uri="{FF2B5EF4-FFF2-40B4-BE49-F238E27FC236}">
                <a16:creationId xmlns:a16="http://schemas.microsoft.com/office/drawing/2014/main" id="{AE62B214-39C7-4E08-B99C-79B7A172F05E}"/>
              </a:ext>
            </a:extLst>
          </p:cNvPr>
          <p:cNvSpPr/>
          <p:nvPr userDrawn="1"/>
        </p:nvSpPr>
        <p:spPr>
          <a:xfrm>
            <a:off x="8197624" y="1636464"/>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9" name="TextBox 108">
            <a:extLst>
              <a:ext uri="{FF2B5EF4-FFF2-40B4-BE49-F238E27FC236}">
                <a16:creationId xmlns:a16="http://schemas.microsoft.com/office/drawing/2014/main" id="{2AF0CA33-BBE3-4B91-9FAE-B904C1FA83B8}"/>
              </a:ext>
            </a:extLst>
          </p:cNvPr>
          <p:cNvSpPr txBox="1"/>
          <p:nvPr userDrawn="1"/>
        </p:nvSpPr>
        <p:spPr>
          <a:xfrm flipH="1">
            <a:off x="8273824" y="1749325"/>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think this learning will be useful for you in the future?</a:t>
            </a:r>
          </a:p>
        </p:txBody>
      </p:sp>
      <p:sp>
        <p:nvSpPr>
          <p:cNvPr id="56" name="Rectangle: Rounded Corners 55">
            <a:extLst>
              <a:ext uri="{FF2B5EF4-FFF2-40B4-BE49-F238E27FC236}">
                <a16:creationId xmlns:a16="http://schemas.microsoft.com/office/drawing/2014/main" id="{22D6ED94-01B1-4EA3-A18D-BF7375C8FBE1}"/>
              </a:ext>
            </a:extLst>
          </p:cNvPr>
          <p:cNvSpPr/>
          <p:nvPr userDrawn="1"/>
        </p:nvSpPr>
        <p:spPr>
          <a:xfrm>
            <a:off x="8282161" y="1489653"/>
            <a:ext cx="1365699" cy="239934"/>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0" name="Google Shape;300;p37">
            <a:extLst>
              <a:ext uri="{FF2B5EF4-FFF2-40B4-BE49-F238E27FC236}">
                <a16:creationId xmlns:a16="http://schemas.microsoft.com/office/drawing/2014/main" id="{CE3E6607-FC55-40FA-A765-40FE8C944B46}"/>
              </a:ext>
            </a:extLst>
          </p:cNvPr>
          <p:cNvGrpSpPr/>
          <p:nvPr userDrawn="1"/>
        </p:nvGrpSpPr>
        <p:grpSpPr>
          <a:xfrm>
            <a:off x="10923183" y="5555438"/>
            <a:ext cx="840105" cy="880745"/>
            <a:chOff x="0" y="0"/>
            <a:chExt cx="1060600" cy="1114925"/>
          </a:xfrm>
        </p:grpSpPr>
        <p:sp>
          <p:nvSpPr>
            <p:cNvPr id="111" name="Google Shape;301;p37">
              <a:extLst>
                <a:ext uri="{FF2B5EF4-FFF2-40B4-BE49-F238E27FC236}">
                  <a16:creationId xmlns:a16="http://schemas.microsoft.com/office/drawing/2014/main" id="{9CBB221F-6297-48D9-A883-BCC6E06996E5}"/>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2" name="Google Shape;302;p37">
              <a:extLst>
                <a:ext uri="{FF2B5EF4-FFF2-40B4-BE49-F238E27FC236}">
                  <a16:creationId xmlns:a16="http://schemas.microsoft.com/office/drawing/2014/main" id="{0B1B3005-D22D-4E6A-8FAE-8B3C089D8F15}"/>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3" name="Google Shape;303;p37">
              <a:extLst>
                <a:ext uri="{FF2B5EF4-FFF2-40B4-BE49-F238E27FC236}">
                  <a16:creationId xmlns:a16="http://schemas.microsoft.com/office/drawing/2014/main" id="{673753D7-EF20-4AE0-9A49-632F7028FE46}"/>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4" name="Google Shape;304;p37">
              <a:extLst>
                <a:ext uri="{FF2B5EF4-FFF2-40B4-BE49-F238E27FC236}">
                  <a16:creationId xmlns:a16="http://schemas.microsoft.com/office/drawing/2014/main" id="{5C615259-F451-4473-A584-3CCFCB935B5E}"/>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5" name="Google Shape;305;p37">
              <a:extLst>
                <a:ext uri="{FF2B5EF4-FFF2-40B4-BE49-F238E27FC236}">
                  <a16:creationId xmlns:a16="http://schemas.microsoft.com/office/drawing/2014/main" id="{D2535FE0-98DB-4BDF-ABC8-6DFBEA5488A6}"/>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6" name="Google Shape;306;p37">
              <a:extLst>
                <a:ext uri="{FF2B5EF4-FFF2-40B4-BE49-F238E27FC236}">
                  <a16:creationId xmlns:a16="http://schemas.microsoft.com/office/drawing/2014/main" id="{CD08A068-21FB-43E0-B392-92C70169D551}"/>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7" name="Google Shape;307;p37">
              <a:extLst>
                <a:ext uri="{FF2B5EF4-FFF2-40B4-BE49-F238E27FC236}">
                  <a16:creationId xmlns:a16="http://schemas.microsoft.com/office/drawing/2014/main" id="{7004FC27-66B6-4C50-A7DD-AED6848D5020}"/>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8" name="Google Shape;308;p37">
              <a:extLst>
                <a:ext uri="{FF2B5EF4-FFF2-40B4-BE49-F238E27FC236}">
                  <a16:creationId xmlns:a16="http://schemas.microsoft.com/office/drawing/2014/main" id="{3F1D5CC3-C0EB-46E4-B417-800EDC8B8E14}"/>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9" name="Google Shape;309;p37">
              <a:extLst>
                <a:ext uri="{FF2B5EF4-FFF2-40B4-BE49-F238E27FC236}">
                  <a16:creationId xmlns:a16="http://schemas.microsoft.com/office/drawing/2014/main" id="{D2023F45-D368-45F8-A480-815665BE826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0" name="Google Shape;310;p37">
              <a:extLst>
                <a:ext uri="{FF2B5EF4-FFF2-40B4-BE49-F238E27FC236}">
                  <a16:creationId xmlns:a16="http://schemas.microsoft.com/office/drawing/2014/main" id="{C1795A1C-49F1-405A-84D7-EB35095FF737}"/>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1" name="Google Shape;311;p37">
              <a:extLst>
                <a:ext uri="{FF2B5EF4-FFF2-40B4-BE49-F238E27FC236}">
                  <a16:creationId xmlns:a16="http://schemas.microsoft.com/office/drawing/2014/main" id="{6039D46A-928A-4370-9A63-EA0CA268852B}"/>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grpSp>
        <p:nvGrpSpPr>
          <p:cNvPr id="122" name="Google Shape;312;p37">
            <a:extLst>
              <a:ext uri="{FF2B5EF4-FFF2-40B4-BE49-F238E27FC236}">
                <a16:creationId xmlns:a16="http://schemas.microsoft.com/office/drawing/2014/main" id="{4D11FDE0-6B4F-4C9D-8456-0914AE2A162C}"/>
              </a:ext>
            </a:extLst>
          </p:cNvPr>
          <p:cNvGrpSpPr/>
          <p:nvPr userDrawn="1"/>
        </p:nvGrpSpPr>
        <p:grpSpPr>
          <a:xfrm>
            <a:off x="387283" y="2379285"/>
            <a:ext cx="866775" cy="647700"/>
            <a:chOff x="0" y="0"/>
            <a:chExt cx="916225" cy="660225"/>
          </a:xfrm>
        </p:grpSpPr>
        <p:sp>
          <p:nvSpPr>
            <p:cNvPr id="123" name="Google Shape;313;p37">
              <a:extLst>
                <a:ext uri="{FF2B5EF4-FFF2-40B4-BE49-F238E27FC236}">
                  <a16:creationId xmlns:a16="http://schemas.microsoft.com/office/drawing/2014/main" id="{DF79A7DF-6896-4E54-8E1E-3DA55AB53B22}"/>
                </a:ext>
              </a:extLst>
            </p:cNvPr>
            <p:cNvSpPr/>
            <p:nvPr userDrawn="1"/>
          </p:nvSpPr>
          <p:spPr>
            <a:xfrm>
              <a:off x="0" y="0"/>
              <a:ext cx="916225" cy="660225"/>
            </a:xfrm>
            <a:custGeom>
              <a:avLst/>
              <a:gdLst/>
              <a:ahLst/>
              <a:cxnLst/>
              <a:rect l="l" t="t" r="r" b="b"/>
              <a:pathLst>
                <a:path w="36649" h="26409" extrusionOk="0">
                  <a:moveTo>
                    <a:pt x="22990" y="1502"/>
                  </a:moveTo>
                  <a:cubicBezTo>
                    <a:pt x="24636" y="1502"/>
                    <a:pt x="26251" y="1775"/>
                    <a:pt x="27734" y="2504"/>
                  </a:cubicBezTo>
                  <a:cubicBezTo>
                    <a:pt x="34704" y="5931"/>
                    <a:pt x="35360" y="15588"/>
                    <a:pt x="28935" y="19943"/>
                  </a:cubicBezTo>
                  <a:cubicBezTo>
                    <a:pt x="28675" y="20118"/>
                    <a:pt x="28439" y="20497"/>
                    <a:pt x="28574" y="20826"/>
                  </a:cubicBezTo>
                  <a:cubicBezTo>
                    <a:pt x="29254" y="22480"/>
                    <a:pt x="30274" y="23815"/>
                    <a:pt x="31605" y="24830"/>
                  </a:cubicBezTo>
                  <a:cubicBezTo>
                    <a:pt x="29557" y="24651"/>
                    <a:pt x="27668" y="23543"/>
                    <a:pt x="26518" y="21715"/>
                  </a:cubicBezTo>
                  <a:cubicBezTo>
                    <a:pt x="26364" y="21470"/>
                    <a:pt x="26128" y="21352"/>
                    <a:pt x="25885" y="21352"/>
                  </a:cubicBezTo>
                  <a:cubicBezTo>
                    <a:pt x="25695" y="21352"/>
                    <a:pt x="25502" y="21424"/>
                    <a:pt x="25338" y="21563"/>
                  </a:cubicBezTo>
                  <a:cubicBezTo>
                    <a:pt x="22839" y="23686"/>
                    <a:pt x="19493" y="24773"/>
                    <a:pt x="16164" y="24773"/>
                  </a:cubicBezTo>
                  <a:cubicBezTo>
                    <a:pt x="11835" y="24773"/>
                    <a:pt x="7535" y="22936"/>
                    <a:pt x="5160" y="19152"/>
                  </a:cubicBezTo>
                  <a:cubicBezTo>
                    <a:pt x="2622" y="15107"/>
                    <a:pt x="4899" y="10120"/>
                    <a:pt x="7851" y="6959"/>
                  </a:cubicBezTo>
                  <a:cubicBezTo>
                    <a:pt x="8283" y="6499"/>
                    <a:pt x="8743" y="6066"/>
                    <a:pt x="9230" y="5662"/>
                  </a:cubicBezTo>
                  <a:cubicBezTo>
                    <a:pt x="11347" y="4267"/>
                    <a:pt x="13707" y="3260"/>
                    <a:pt x="16182" y="2604"/>
                  </a:cubicBezTo>
                  <a:cubicBezTo>
                    <a:pt x="18320" y="2038"/>
                    <a:pt x="20684" y="1502"/>
                    <a:pt x="22990" y="1502"/>
                  </a:cubicBezTo>
                  <a:close/>
                  <a:moveTo>
                    <a:pt x="22921" y="0"/>
                  </a:moveTo>
                  <a:cubicBezTo>
                    <a:pt x="20883" y="0"/>
                    <a:pt x="18812" y="363"/>
                    <a:pt x="16843" y="849"/>
                  </a:cubicBezTo>
                  <a:cubicBezTo>
                    <a:pt x="15554" y="1167"/>
                    <a:pt x="14293" y="1584"/>
                    <a:pt x="13082" y="2104"/>
                  </a:cubicBezTo>
                  <a:cubicBezTo>
                    <a:pt x="6225" y="4767"/>
                    <a:pt x="1" y="12892"/>
                    <a:pt x="3814" y="19616"/>
                  </a:cubicBezTo>
                  <a:cubicBezTo>
                    <a:pt x="6346" y="24082"/>
                    <a:pt x="11197" y="26196"/>
                    <a:pt x="16102" y="26196"/>
                  </a:cubicBezTo>
                  <a:cubicBezTo>
                    <a:pt x="19536" y="26196"/>
                    <a:pt x="22996" y="25160"/>
                    <a:pt x="25706" y="23169"/>
                  </a:cubicBezTo>
                  <a:cubicBezTo>
                    <a:pt x="27286" y="25232"/>
                    <a:pt x="29698" y="26409"/>
                    <a:pt x="32242" y="26409"/>
                  </a:cubicBezTo>
                  <a:cubicBezTo>
                    <a:pt x="32931" y="26409"/>
                    <a:pt x="33630" y="26323"/>
                    <a:pt x="34324" y="26144"/>
                  </a:cubicBezTo>
                  <a:cubicBezTo>
                    <a:pt x="35137" y="25935"/>
                    <a:pt x="34984" y="24910"/>
                    <a:pt x="34324" y="24641"/>
                  </a:cubicBezTo>
                  <a:cubicBezTo>
                    <a:pt x="32541" y="23914"/>
                    <a:pt x="31137" y="22589"/>
                    <a:pt x="30302" y="20875"/>
                  </a:cubicBezTo>
                  <a:cubicBezTo>
                    <a:pt x="36648" y="16007"/>
                    <a:pt x="36480" y="6187"/>
                    <a:pt x="29567" y="1774"/>
                  </a:cubicBezTo>
                  <a:cubicBezTo>
                    <a:pt x="27529" y="473"/>
                    <a:pt x="25246" y="0"/>
                    <a:pt x="22921"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4" name="Google Shape;314;p37">
              <a:extLst>
                <a:ext uri="{FF2B5EF4-FFF2-40B4-BE49-F238E27FC236}">
                  <a16:creationId xmlns:a16="http://schemas.microsoft.com/office/drawing/2014/main" id="{B3F59764-2211-4809-8809-E37EA2A00CB4}"/>
                </a:ext>
              </a:extLst>
            </p:cNvPr>
            <p:cNvSpPr/>
            <p:nvPr userDrawn="1"/>
          </p:nvSpPr>
          <p:spPr>
            <a:xfrm>
              <a:off x="292975" y="392575"/>
              <a:ext cx="44325" cy="37875"/>
            </a:xfrm>
            <a:custGeom>
              <a:avLst/>
              <a:gdLst/>
              <a:ahLst/>
              <a:cxnLst/>
              <a:rect l="l" t="t" r="r" b="b"/>
              <a:pathLst>
                <a:path w="1773" h="1515" extrusionOk="0">
                  <a:moveTo>
                    <a:pt x="894" y="0"/>
                  </a:moveTo>
                  <a:cubicBezTo>
                    <a:pt x="405" y="0"/>
                    <a:pt x="1" y="547"/>
                    <a:pt x="280" y="1044"/>
                  </a:cubicBezTo>
                  <a:cubicBezTo>
                    <a:pt x="405" y="1267"/>
                    <a:pt x="569" y="1455"/>
                    <a:pt x="836" y="1501"/>
                  </a:cubicBezTo>
                  <a:cubicBezTo>
                    <a:pt x="890" y="1510"/>
                    <a:pt x="942" y="1514"/>
                    <a:pt x="992" y="1514"/>
                  </a:cubicBezTo>
                  <a:cubicBezTo>
                    <a:pt x="1457" y="1514"/>
                    <a:pt x="1772" y="1142"/>
                    <a:pt x="1689" y="648"/>
                  </a:cubicBezTo>
                  <a:cubicBezTo>
                    <a:pt x="1644" y="385"/>
                    <a:pt x="1454" y="215"/>
                    <a:pt x="1232" y="91"/>
                  </a:cubicBezTo>
                  <a:cubicBezTo>
                    <a:pt x="1120" y="28"/>
                    <a:pt x="1004" y="0"/>
                    <a:pt x="894"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5" name="Google Shape;315;p37">
              <a:extLst>
                <a:ext uri="{FF2B5EF4-FFF2-40B4-BE49-F238E27FC236}">
                  <a16:creationId xmlns:a16="http://schemas.microsoft.com/office/drawing/2014/main" id="{843EB960-B149-48D2-B2C7-169E954E0593}"/>
                </a:ext>
              </a:extLst>
            </p:cNvPr>
            <p:cNvSpPr/>
            <p:nvPr userDrawn="1"/>
          </p:nvSpPr>
          <p:spPr>
            <a:xfrm>
              <a:off x="389150" y="360000"/>
              <a:ext cx="60225" cy="53675"/>
            </a:xfrm>
            <a:custGeom>
              <a:avLst/>
              <a:gdLst/>
              <a:ahLst/>
              <a:cxnLst/>
              <a:rect l="l" t="t" r="r" b="b"/>
              <a:pathLst>
                <a:path w="2409" h="2147" extrusionOk="0">
                  <a:moveTo>
                    <a:pt x="1180" y="1"/>
                  </a:moveTo>
                  <a:cubicBezTo>
                    <a:pt x="1097" y="1"/>
                    <a:pt x="1013" y="11"/>
                    <a:pt x="927" y="34"/>
                  </a:cubicBezTo>
                  <a:cubicBezTo>
                    <a:pt x="386" y="183"/>
                    <a:pt x="0" y="802"/>
                    <a:pt x="178" y="1352"/>
                  </a:cubicBezTo>
                  <a:cubicBezTo>
                    <a:pt x="321" y="1795"/>
                    <a:pt x="742" y="2147"/>
                    <a:pt x="1208" y="2147"/>
                  </a:cubicBezTo>
                  <a:cubicBezTo>
                    <a:pt x="1303" y="2147"/>
                    <a:pt x="1399" y="2132"/>
                    <a:pt x="1495" y="2101"/>
                  </a:cubicBezTo>
                  <a:cubicBezTo>
                    <a:pt x="2043" y="1923"/>
                    <a:pt x="2408" y="1365"/>
                    <a:pt x="2244" y="783"/>
                  </a:cubicBezTo>
                  <a:cubicBezTo>
                    <a:pt x="2231" y="741"/>
                    <a:pt x="2219" y="700"/>
                    <a:pt x="2209" y="658"/>
                  </a:cubicBezTo>
                  <a:cubicBezTo>
                    <a:pt x="2137" y="379"/>
                    <a:pt x="1900" y="141"/>
                    <a:pt x="1621" y="69"/>
                  </a:cubicBezTo>
                  <a:cubicBezTo>
                    <a:pt x="1473" y="32"/>
                    <a:pt x="1328" y="1"/>
                    <a:pt x="118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6" name="Google Shape;316;p37">
              <a:extLst>
                <a:ext uri="{FF2B5EF4-FFF2-40B4-BE49-F238E27FC236}">
                  <a16:creationId xmlns:a16="http://schemas.microsoft.com/office/drawing/2014/main" id="{7165BA37-08A4-4E09-BB0E-056E6B4D16A6}"/>
                </a:ext>
              </a:extLst>
            </p:cNvPr>
            <p:cNvSpPr/>
            <p:nvPr userDrawn="1"/>
          </p:nvSpPr>
          <p:spPr>
            <a:xfrm>
              <a:off x="474150" y="332650"/>
              <a:ext cx="64550" cy="50050"/>
            </a:xfrm>
            <a:custGeom>
              <a:avLst/>
              <a:gdLst/>
              <a:ahLst/>
              <a:cxnLst/>
              <a:rect l="l" t="t" r="r" b="b"/>
              <a:pathLst>
                <a:path w="2582" h="2002" extrusionOk="0">
                  <a:moveTo>
                    <a:pt x="1291" y="1"/>
                  </a:moveTo>
                  <a:cubicBezTo>
                    <a:pt x="3" y="1"/>
                    <a:pt x="1" y="2002"/>
                    <a:pt x="1291" y="2002"/>
                  </a:cubicBezTo>
                  <a:cubicBezTo>
                    <a:pt x="2579" y="2002"/>
                    <a:pt x="2581" y="1"/>
                    <a:pt x="129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7" name="Google Shape;317;p37">
              <a:extLst>
                <a:ext uri="{FF2B5EF4-FFF2-40B4-BE49-F238E27FC236}">
                  <a16:creationId xmlns:a16="http://schemas.microsoft.com/office/drawing/2014/main" id="{6DE8B1AB-769D-4F9B-82A7-6B291F83E8AC}"/>
                </a:ext>
              </a:extLst>
            </p:cNvPr>
            <p:cNvSpPr/>
            <p:nvPr userDrawn="1"/>
          </p:nvSpPr>
          <p:spPr>
            <a:xfrm>
              <a:off x="576975" y="301125"/>
              <a:ext cx="56125" cy="43525"/>
            </a:xfrm>
            <a:custGeom>
              <a:avLst/>
              <a:gdLst/>
              <a:ahLst/>
              <a:cxnLst/>
              <a:rect l="l" t="t" r="r" b="b"/>
              <a:pathLst>
                <a:path w="2245" h="1741" extrusionOk="0">
                  <a:moveTo>
                    <a:pt x="1123" y="1"/>
                  </a:moveTo>
                  <a:cubicBezTo>
                    <a:pt x="0" y="1"/>
                    <a:pt x="0" y="1741"/>
                    <a:pt x="1123" y="1741"/>
                  </a:cubicBezTo>
                  <a:cubicBezTo>
                    <a:pt x="2242" y="1741"/>
                    <a:pt x="2244" y="1"/>
                    <a:pt x="1123"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128" name="TextBox 127">
            <a:extLst>
              <a:ext uri="{FF2B5EF4-FFF2-40B4-BE49-F238E27FC236}">
                <a16:creationId xmlns:a16="http://schemas.microsoft.com/office/drawing/2014/main" id="{18B1A514-FFCC-4910-B0FD-7A1144DA81CD}"/>
              </a:ext>
            </a:extLst>
          </p:cNvPr>
          <p:cNvSpPr txBox="1"/>
          <p:nvPr userDrawn="1"/>
        </p:nvSpPr>
        <p:spPr>
          <a:xfrm>
            <a:off x="179783" y="192389"/>
            <a:ext cx="7215437"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YOUR REFLECTION – YOUR LEARNING</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 name="Text Placeholder 3">
            <a:extLst>
              <a:ext uri="{FF2B5EF4-FFF2-40B4-BE49-F238E27FC236}">
                <a16:creationId xmlns:a16="http://schemas.microsoft.com/office/drawing/2014/main" id="{2E2DA8AA-3985-4E68-4882-9C6A90508514}"/>
              </a:ext>
            </a:extLst>
          </p:cNvPr>
          <p:cNvSpPr>
            <a:spLocks noGrp="1"/>
          </p:cNvSpPr>
          <p:nvPr>
            <p:ph type="body" sz="quarter" idx="10" hasCustomPrompt="1"/>
          </p:nvPr>
        </p:nvSpPr>
        <p:spPr>
          <a:xfrm>
            <a:off x="421509" y="3128760"/>
            <a:ext cx="3450407" cy="3307423"/>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4" name="Text Placeholder 3">
            <a:extLst>
              <a:ext uri="{FF2B5EF4-FFF2-40B4-BE49-F238E27FC236}">
                <a16:creationId xmlns:a16="http://schemas.microsoft.com/office/drawing/2014/main" id="{C527A8E5-D36B-17AB-62D4-6397E78778F7}"/>
              </a:ext>
            </a:extLst>
          </p:cNvPr>
          <p:cNvSpPr>
            <a:spLocks noGrp="1"/>
          </p:cNvSpPr>
          <p:nvPr>
            <p:ph type="body" sz="quarter" idx="11" hasCustomPrompt="1"/>
          </p:nvPr>
        </p:nvSpPr>
        <p:spPr>
          <a:xfrm>
            <a:off x="8273824" y="2323813"/>
            <a:ext cx="3451106" cy="3421057"/>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5" name="Text Placeholder 3">
            <a:extLst>
              <a:ext uri="{FF2B5EF4-FFF2-40B4-BE49-F238E27FC236}">
                <a16:creationId xmlns:a16="http://schemas.microsoft.com/office/drawing/2014/main" id="{4A18E320-A776-5EA0-E4AB-4EAE7EF7F5D6}"/>
              </a:ext>
            </a:extLst>
          </p:cNvPr>
          <p:cNvSpPr>
            <a:spLocks noGrp="1"/>
          </p:cNvSpPr>
          <p:nvPr>
            <p:ph type="body" sz="quarter" idx="12" hasCustomPrompt="1"/>
          </p:nvPr>
        </p:nvSpPr>
        <p:spPr>
          <a:xfrm>
            <a:off x="4377822" y="2310955"/>
            <a:ext cx="3480564" cy="4125228"/>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2" name="Slide Number Placeholder 1">
            <a:extLst>
              <a:ext uri="{FF2B5EF4-FFF2-40B4-BE49-F238E27FC236}">
                <a16:creationId xmlns:a16="http://schemas.microsoft.com/office/drawing/2014/main" id="{FE6EA3BD-09D9-DE6D-A697-E3E7A8CC0B5F}"/>
              </a:ext>
            </a:extLst>
          </p:cNvPr>
          <p:cNvSpPr>
            <a:spLocks noGrp="1"/>
          </p:cNvSpPr>
          <p:nvPr>
            <p:ph type="sldNum" sz="quarter" idx="13"/>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4751993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PAGE AF 1">
    <p:bg>
      <p:bgPr>
        <a:gradFill>
          <a:gsLst>
            <a:gs pos="24000">
              <a:schemeClr val="bg1">
                <a:alpha val="0"/>
              </a:schemeClr>
            </a:gs>
            <a:gs pos="100000">
              <a:srgbClr val="D2EEFC"/>
            </a:gs>
          </a:gsLst>
          <a:lin ang="18900000" scaled="1"/>
        </a:gradFill>
        <a:effectLst/>
      </p:bgPr>
    </p:bg>
    <p:spTree>
      <p:nvGrpSpPr>
        <p:cNvPr id="1" name=""/>
        <p:cNvGrpSpPr/>
        <p:nvPr/>
      </p:nvGrpSpPr>
      <p:grpSpPr>
        <a:xfrm>
          <a:off x="0" y="0"/>
          <a:ext cx="0" cy="0"/>
          <a:chOff x="0" y="0"/>
          <a:chExt cx="0" cy="0"/>
        </a:xfrm>
      </p:grpSpPr>
      <p:pic>
        <p:nvPicPr>
          <p:cNvPr id="11" name="Picture 6">
            <a:extLst>
              <a:ext uri="{FF2B5EF4-FFF2-40B4-BE49-F238E27FC236}">
                <a16:creationId xmlns:a16="http://schemas.microsoft.com/office/drawing/2014/main" id="{35B8C781-36CE-4DB0-85EE-7F1A5BE1602C}"/>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0" y="0"/>
            <a:ext cx="7002463"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7CA32A7-65CC-446F-90F1-D5810D05E72C}"/>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9" name="Group 8">
            <a:extLst>
              <a:ext uri="{FF2B5EF4-FFF2-40B4-BE49-F238E27FC236}">
                <a16:creationId xmlns:a16="http://schemas.microsoft.com/office/drawing/2014/main" id="{3100EEB8-1F3F-425B-B2F9-94EF253497DA}"/>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672DBACD-3B29-48FA-BB57-3FF5E11F436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42F7FF86-A528-48C8-BC4F-B0280FC875B2}"/>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0C2E630D-7A77-4391-B763-5D99596A8C98}"/>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4423A166-77F7-4255-A461-D201E6B7B58C}"/>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F8636B5B-FD40-416C-9A18-B98DE23DDF24}"/>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F92253AD-A08C-41C2-9746-338111993FA3}"/>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92EDAC14-0032-42B6-9F9E-2D85DB6FD7EB}"/>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20755191-1DA0-4CF8-8448-69DFB6F1FBCF}"/>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Circle: Hollow 24">
              <a:extLst>
                <a:ext uri="{FF2B5EF4-FFF2-40B4-BE49-F238E27FC236}">
                  <a16:creationId xmlns:a16="http://schemas.microsoft.com/office/drawing/2014/main" id="{766018A7-08D0-4D97-BCBA-4C0972B5B70A}"/>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Circle: Hollow 25">
              <a:extLst>
                <a:ext uri="{FF2B5EF4-FFF2-40B4-BE49-F238E27FC236}">
                  <a16:creationId xmlns:a16="http://schemas.microsoft.com/office/drawing/2014/main" id="{83084BA5-1453-4D45-A000-E26D51CE3CC2}"/>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1CE56E73-296E-4DBE-AD69-4B90D1CCC282}"/>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301B19C2-782C-4EF5-84D9-103CC7278F41}"/>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927EE673-D7AF-4F70-906F-A89A0EDC5ABA}"/>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Oval 29">
              <a:extLst>
                <a:ext uri="{FF2B5EF4-FFF2-40B4-BE49-F238E27FC236}">
                  <a16:creationId xmlns:a16="http://schemas.microsoft.com/office/drawing/2014/main" id="{CB7E533D-FED4-4225-8963-76EA05B3AA9F}"/>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1" name="Circle: Hollow 30">
              <a:extLst>
                <a:ext uri="{FF2B5EF4-FFF2-40B4-BE49-F238E27FC236}">
                  <a16:creationId xmlns:a16="http://schemas.microsoft.com/office/drawing/2014/main" id="{94D2EAF9-A3FD-4FEB-AD3F-4AB612C3C374}"/>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2" name="Oval 31">
              <a:extLst>
                <a:ext uri="{FF2B5EF4-FFF2-40B4-BE49-F238E27FC236}">
                  <a16:creationId xmlns:a16="http://schemas.microsoft.com/office/drawing/2014/main" id="{36D907B9-39BB-48B0-ADA1-4C55F461715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DAB1E9B4-C5BC-4D6F-ACF5-55AA3484C9D7}"/>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84F129F0-D9F9-4423-A68E-2F371CC3EB12}"/>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8106732A-72C0-48C5-885E-C6E033A32287}"/>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FEA4A954-AF44-4848-A34A-5FAB301571B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D7FC9AF0-3EB1-4D9F-9E4C-443485F5D156}"/>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E813DEC-9315-478B-8736-0820166CB6D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5432A525-008F-4029-95CF-E3F69EC14C3F}"/>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06F333CF-707E-40A3-BAB3-048F27BF12B2}"/>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1" name="Oval 40">
              <a:extLst>
                <a:ext uri="{FF2B5EF4-FFF2-40B4-BE49-F238E27FC236}">
                  <a16:creationId xmlns:a16="http://schemas.microsoft.com/office/drawing/2014/main" id="{843D06FE-84E3-4BB8-A47C-3B02F62A8AC7}"/>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B0864EB8-0D02-41B2-9DAD-7968B0E90EE8}"/>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C785A0AB-A18E-456A-93B4-E082724BEB2B}"/>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A5CB91CE-80F1-439E-B2EB-7DADF2FBC05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6680E319-7F05-4888-9FB4-296DCE9C9E75}"/>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97A3479-E806-4FDD-AC6F-D0BBEF1F11A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7" name="Oval 46">
              <a:extLst>
                <a:ext uri="{FF2B5EF4-FFF2-40B4-BE49-F238E27FC236}">
                  <a16:creationId xmlns:a16="http://schemas.microsoft.com/office/drawing/2014/main" id="{186DE44C-BCD9-4CCB-958E-A8D58488F8E5}"/>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89D49990-909D-42C1-864E-0B4B7C950B8F}"/>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FB656CE1-1C45-494C-83F3-0DE85AD10BCA}"/>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4AC3108F-EE7B-4D7A-AAD2-58A943325D4A}"/>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00577402-C60D-47B9-A9A4-29FEF86FDBAE}"/>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E7498CB7-5019-4F21-941D-10DE5C7D7E2A}"/>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867DB938-6E06-473B-9406-513B39E4DBC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9691D319-AAAF-4E10-AAAB-B222F822EFA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791E099E-7728-4C1F-A1AC-9CF45102A051}"/>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Oval 55">
              <a:extLst>
                <a:ext uri="{FF2B5EF4-FFF2-40B4-BE49-F238E27FC236}">
                  <a16:creationId xmlns:a16="http://schemas.microsoft.com/office/drawing/2014/main" id="{62FE81AA-1DDF-44B8-9E3E-B2BD2B5F3517}"/>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Circle: Hollow 56">
              <a:extLst>
                <a:ext uri="{FF2B5EF4-FFF2-40B4-BE49-F238E27FC236}">
                  <a16:creationId xmlns:a16="http://schemas.microsoft.com/office/drawing/2014/main" id="{FE697FDC-9678-4E01-9132-96BBFBA7E26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8" name="Circle: Hollow 57">
              <a:extLst>
                <a:ext uri="{FF2B5EF4-FFF2-40B4-BE49-F238E27FC236}">
                  <a16:creationId xmlns:a16="http://schemas.microsoft.com/office/drawing/2014/main" id="{C1BCC805-69D9-406E-A4EF-2AB88B7AD5D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B3216D0A-DC0C-F92A-C5E0-43213FF062A7}"/>
              </a:ext>
            </a:extLst>
          </p:cNvPr>
          <p:cNvGrpSpPr/>
          <p:nvPr userDrawn="1"/>
        </p:nvGrpSpPr>
        <p:grpSpPr>
          <a:xfrm>
            <a:off x="191742" y="216098"/>
            <a:ext cx="5241454" cy="644967"/>
            <a:chOff x="0" y="0"/>
            <a:chExt cx="3793402" cy="559435"/>
          </a:xfrm>
        </p:grpSpPr>
        <p:sp>
          <p:nvSpPr>
            <p:cNvPr id="3" name="Rectangle 2">
              <a:extLst>
                <a:ext uri="{FF2B5EF4-FFF2-40B4-BE49-F238E27FC236}">
                  <a16:creationId xmlns:a16="http://schemas.microsoft.com/office/drawing/2014/main" id="{6C780896-6EEB-D156-FB8B-F33FD391774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4" name="Picture 3">
              <a:extLst>
                <a:ext uri="{FF2B5EF4-FFF2-40B4-BE49-F238E27FC236}">
                  <a16:creationId xmlns:a16="http://schemas.microsoft.com/office/drawing/2014/main" id="{92435A53-F0CF-3FCE-E1E3-A7064E91CDA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7A290F0C-C1D6-3528-4F3F-E9C9135C1622}"/>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DC3D3AF2-FCE4-254B-EF86-EBAB845850DE}"/>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120883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JECTIVES PAGE_IMAG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FA3418-0396-490C-A419-013921E19A88}"/>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 end of this module you will be able to:</a:t>
            </a:r>
          </a:p>
        </p:txBody>
      </p:sp>
      <p:sp>
        <p:nvSpPr>
          <p:cNvPr id="2" name="Oval 1">
            <a:extLst>
              <a:ext uri="{FF2B5EF4-FFF2-40B4-BE49-F238E27FC236}">
                <a16:creationId xmlns:a16="http://schemas.microsoft.com/office/drawing/2014/main" id="{D7B0406E-C1BB-6A1F-CB07-3376E948D0BF}"/>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ircle: Hollow 2">
            <a:extLst>
              <a:ext uri="{FF2B5EF4-FFF2-40B4-BE49-F238E27FC236}">
                <a16:creationId xmlns:a16="http://schemas.microsoft.com/office/drawing/2014/main" id="{94D745D1-DC55-B4E1-7DAD-4B4B000F3095}"/>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4" name="Circle: Hollow 3">
            <a:extLst>
              <a:ext uri="{FF2B5EF4-FFF2-40B4-BE49-F238E27FC236}">
                <a16:creationId xmlns:a16="http://schemas.microsoft.com/office/drawing/2014/main" id="{250790E5-9E11-4649-E4AC-41D375E1BFC4}"/>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7" name="Picture Placeholder 10">
            <a:extLst>
              <a:ext uri="{FF2B5EF4-FFF2-40B4-BE49-F238E27FC236}">
                <a16:creationId xmlns:a16="http://schemas.microsoft.com/office/drawing/2014/main" id="{BF4F2507-8787-C114-465A-45FB837B2E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9954" t="17481" r="12474"/>
          <a:stretch/>
        </p:blipFill>
        <p:spPr>
          <a:xfrm>
            <a:off x="8680177" y="-346796"/>
            <a:ext cx="3892823" cy="3892823"/>
          </a:xfrm>
          <a:prstGeom prst="ellipse">
            <a:avLst/>
          </a:prstGeom>
        </p:spPr>
      </p:pic>
      <p:sp>
        <p:nvSpPr>
          <p:cNvPr id="5" name="Slide Number Placeholder 4">
            <a:extLst>
              <a:ext uri="{FF2B5EF4-FFF2-40B4-BE49-F238E27FC236}">
                <a16:creationId xmlns:a16="http://schemas.microsoft.com/office/drawing/2014/main" id="{C471A70A-A01E-6A72-4AA3-846EAB783C13}"/>
              </a:ext>
            </a:extLst>
          </p:cNvPr>
          <p:cNvSpPr>
            <a:spLocks noGrp="1"/>
          </p:cNvSpPr>
          <p:nvPr>
            <p:ph type="sldNum" sz="quarter" idx="14"/>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1546764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PAGE AF 2">
    <p:bg>
      <p:bgPr>
        <a:solidFill>
          <a:schemeClr val="bg1"/>
        </a:solidFill>
        <a:effectLst/>
      </p:bgPr>
    </p:bg>
    <p:spTree>
      <p:nvGrpSpPr>
        <p:cNvPr id="1" name=""/>
        <p:cNvGrpSpPr/>
        <p:nvPr/>
      </p:nvGrpSpPr>
      <p:grpSpPr>
        <a:xfrm>
          <a:off x="0" y="0"/>
          <a:ext cx="0" cy="0"/>
          <a:chOff x="0" y="0"/>
          <a:chExt cx="0" cy="0"/>
        </a:xfrm>
      </p:grpSpPr>
      <p:pic>
        <p:nvPicPr>
          <p:cNvPr id="56" name="Picture 2">
            <a:extLst>
              <a:ext uri="{FF2B5EF4-FFF2-40B4-BE49-F238E27FC236}">
                <a16:creationId xmlns:a16="http://schemas.microsoft.com/office/drawing/2014/main" id="{4B875472-0CD0-4D97-A4E1-91E9A8328F02}"/>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232F2D46-4570-4AEC-9ED6-5E35E3BAB85A}"/>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1C47F234-0A60-4960-850E-D7781A59071D}"/>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89517E1E-13C9-41DE-B8B6-85208D9852AE}"/>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97EDEBF5-B318-4F20-98E0-A5EEDF1165FB}"/>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9ED2D3C-D048-4639-AECA-73D9C3948E99}"/>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B8EB2903-AA1F-42AD-B0A9-D6274F815D1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F4199C2E-807F-43A8-A499-EBE88A24A0A3}"/>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6398FC5B-6E56-4C97-AEC8-01592F57DB5B}"/>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0685FE09-4D20-4C04-B53A-DA88BFC9EB4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D589A8C9-F558-45E8-AC82-B54687BE665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6C883584-BFCD-40AD-8EFA-D2A8A62C7B0A}"/>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C6F2F031-BA0D-460B-A758-60915EAEC071}"/>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65FF7D9-FD14-4844-B7A8-AF564567DB96}"/>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DDB206D4-1889-484D-807B-796F58382B1E}"/>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B0EDFE87-AF38-4993-8346-49BF237346C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1C00934C-7580-4B89-86A6-EE5836A863F4}"/>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62A043CB-D9FE-47AB-93F7-CCB2A0B731A6}"/>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FB56B01D-4300-4DEA-8ED7-63CE4DDFB2B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0009705-0F62-42E0-8505-1AEE053BE78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C664632D-B114-4CE7-8938-54B4D2F6A50D}"/>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C86EC49-10A3-4174-BD7B-1B420B1A9AC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3E8A9B-81B2-4BEE-879A-C296B59A3262}"/>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F09970AF-51F0-43A9-B6C7-5AE88348950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4A1D494F-33C3-485D-A5FE-80939935685A}"/>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771143BF-A24E-4ED5-9D8D-599F220F1423}"/>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F6484BD-887D-4FF0-9DD5-0A01BF62A75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06482A0-147A-4950-8C53-BAC1E52172DF}"/>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82749C75-A67C-4720-AB92-DC49143EEC7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7919612C-6DBE-4CE3-B77B-2B7B3198514C}"/>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708FE6B-B0C6-4AD7-9444-2BD3F93A3618}"/>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BCFC0A7-853C-495B-9D68-EA009544765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257126C-3FEB-4719-A85E-BB9B6E08B7B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A26391D-B704-4736-9086-3AFB6EE2C8D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3D732B-79E6-4292-8812-4FF89620B7E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0C8A1EE-A5AC-437F-A736-A9BC03F64570}"/>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550BEEA3-3B8A-4ECA-935D-32D25E87EFBD}"/>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8DACAAD8-2D35-4D45-B1C2-345DFD060D9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C01AD63C-45AD-4EC1-9665-AB4855AFDC1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729DBDB-C379-4BA1-AE43-B2A644932BA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7C087-52BC-4EFC-BD09-20152F47ED9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0107CC9-94EB-4B97-B1C6-E75EDABBE6C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6B275410-3950-451A-8F58-0AD448F97BA5}"/>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9DE0AEFE-063C-43D2-BC75-96E8F09953D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3F872ED9-D0B8-4E00-A97F-2945B3CDC4B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8B0131FC-FE78-4B3B-8273-515AC1331A43}"/>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ED01E9C3-0F58-EBF1-D754-5302EE08BBF7}"/>
              </a:ext>
            </a:extLst>
          </p:cNvPr>
          <p:cNvGrpSpPr/>
          <p:nvPr userDrawn="1"/>
        </p:nvGrpSpPr>
        <p:grpSpPr>
          <a:xfrm>
            <a:off x="191742" y="216098"/>
            <a:ext cx="5241454" cy="644967"/>
            <a:chOff x="0" y="0"/>
            <a:chExt cx="3793402" cy="559435"/>
          </a:xfrm>
        </p:grpSpPr>
        <p:sp>
          <p:nvSpPr>
            <p:cNvPr id="3" name="Rectangle 2">
              <a:extLst>
                <a:ext uri="{FF2B5EF4-FFF2-40B4-BE49-F238E27FC236}">
                  <a16:creationId xmlns:a16="http://schemas.microsoft.com/office/drawing/2014/main" id="{8016719A-3A2F-DE26-6789-0BCE9EBE5F6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4" name="Picture 3">
              <a:extLst>
                <a:ext uri="{FF2B5EF4-FFF2-40B4-BE49-F238E27FC236}">
                  <a16:creationId xmlns:a16="http://schemas.microsoft.com/office/drawing/2014/main" id="{73746675-7F5A-6B38-F5E0-268768AB65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DA41826F-1680-5B4B-9E82-62BADEAE5B5B}"/>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8B388257-1B6D-C580-6919-D1012420EAAC}"/>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7731359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ANK YOU PAGE AF 3">
    <p:bg>
      <p:bgPr>
        <a:solidFill>
          <a:schemeClr val="bg1"/>
        </a:solidFill>
        <a:effectLst/>
      </p:bgPr>
    </p:bg>
    <p:spTree>
      <p:nvGrpSpPr>
        <p:cNvPr id="1" name=""/>
        <p:cNvGrpSpPr/>
        <p:nvPr/>
      </p:nvGrpSpPr>
      <p:grpSpPr>
        <a:xfrm>
          <a:off x="0" y="0"/>
          <a:ext cx="0" cy="0"/>
          <a:chOff x="0" y="0"/>
          <a:chExt cx="0" cy="0"/>
        </a:xfrm>
      </p:grpSpPr>
      <p:pic>
        <p:nvPicPr>
          <p:cNvPr id="52" name="Picture 4">
            <a:extLst>
              <a:ext uri="{FF2B5EF4-FFF2-40B4-BE49-F238E27FC236}">
                <a16:creationId xmlns:a16="http://schemas.microsoft.com/office/drawing/2014/main" id="{42CD170D-E2D3-4EAE-96C3-BEDCB4AAD04E}"/>
              </a:ext>
            </a:extLst>
          </p:cNvPr>
          <p:cNvPicPr>
            <a:picLocks noChangeAspect="1" noChangeArrowheads="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flipH="1">
            <a:off x="-868" y="0"/>
            <a:ext cx="81376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a:extLst>
              <a:ext uri="{FF2B5EF4-FFF2-40B4-BE49-F238E27FC236}">
                <a16:creationId xmlns:a16="http://schemas.microsoft.com/office/drawing/2014/main" id="{3DEB0242-D4DB-4D9A-B54E-93F2FAB9C256}"/>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90" b="99792" l="32727" r="70579">
                        <a14:foregroundMark x1="55455" y1="50780" x2="50661" y2="51821"/>
                        <a14:foregroundMark x1="67360" y1="47043" x2="67646" y2="54115"/>
                        <a14:foregroundMark x1="66281" y1="20291" x2="67356" y2="46928"/>
                        <a14:foregroundMark x1="68043" y1="65556" x2="66116" y2="72633"/>
                        <a14:foregroundMark x1="66116" y1="72633" x2="63554" y2="71072"/>
                        <a14:foregroundMark x1="59091" y1="59729" x2="50909" y2="99792"/>
                        <a14:foregroundMark x1="64463" y1="19459" x2="60496" y2="29553"/>
                        <a14:foregroundMark x1="66446" y1="20499" x2="70165" y2="26015"/>
                        <a14:foregroundMark x1="70165" y1="26015" x2="70430" y2="29683"/>
                        <a14:foregroundMark x1="64215" y1="19979" x2="52810" y2="23413"/>
                        <a14:foregroundMark x1="60331" y1="18835" x2="50992" y2="24246"/>
                        <a14:foregroundMark x1="59008" y1="19043" x2="52397" y2="23205"/>
                        <a14:foregroundMark x1="52397" y1="23205" x2="51736" y2="24142"/>
                        <a14:foregroundMark x1="43554" y1="68574" x2="36033" y2="94381"/>
                        <a14:foregroundMark x1="36033" y1="94381" x2="32727" y2="98855"/>
                        <a14:foregroundMark x1="38017" y1="69823" x2="33802" y2="92612"/>
                        <a14:foregroundMark x1="46694" y1="70968" x2="43140" y2="77419"/>
                        <a14:foregroundMark x1="64711" y1="51405" x2="65289" y2="59105"/>
                        <a14:foregroundMark x1="65537" y1="67430" x2="58264" y2="99584"/>
                        <a14:foregroundMark x1="70579" y1="26223" x2="67603" y2="21956"/>
                        <a14:foregroundMark x1="70248" y1="25702" x2="67603" y2="21748"/>
                        <a14:foregroundMark x1="51322" y1="24454" x2="47686" y2="30385"/>
                        <a14:foregroundMark x1="47686" y1="30385" x2="47686" y2="30385"/>
                        <a14:foregroundMark x1="50992" y1="24454" x2="47934" y2="29969"/>
                        <a14:backgroundMark x1="71240" y1="29865" x2="68760" y2="47242"/>
                        <a14:backgroundMark x1="68760" y1="47242" x2="69256" y2="54943"/>
                        <a14:backgroundMark x1="69256" y1="54943" x2="68760" y2="57024"/>
                        <a14:backgroundMark x1="67851" y1="54110" x2="68017" y2="65557"/>
                      </a14:backgroundRemoval>
                    </a14:imgEffect>
                  </a14:imgLayer>
                </a14:imgProps>
              </a:ext>
              <a:ext uri="{28A0092B-C50C-407E-A947-70E740481C1C}">
                <a14:useLocalDpi xmlns:a14="http://schemas.microsoft.com/office/drawing/2010/main" val="0"/>
              </a:ext>
            </a:extLst>
          </a:blip>
          <a:srcRect l="29877" r="28609"/>
          <a:stretch/>
        </p:blipFill>
        <p:spPr bwMode="auto">
          <a:xfrm flipH="1">
            <a:off x="1850719" y="-10556"/>
            <a:ext cx="3693747" cy="6893955"/>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1FB02DD8-058B-40C6-B85E-3CF1B28296F6}"/>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623768C3-800A-4409-8A50-B68E694CF72F}"/>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60F467B-DBA3-4A1F-8AD4-5F15E2DFB485}"/>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BA5727F-8EA2-4B25-8A65-17396D895918}"/>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C4EFF58C-098D-4DBE-B150-A05A1498C1BE}"/>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50BBBEE4-A3A2-4329-950B-E56D6573E2E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D359FDD4-E223-47C9-A07A-069F94AE4571}"/>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DC66F4E3-040F-4AC6-981D-826451AD706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975A1043-2145-48D9-B59A-70A2CA720056}"/>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837C9E58-08F8-48ED-B14C-41F09A690E85}"/>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B27AEB0B-8C69-45A7-8FCC-E4436C3ACFEC}"/>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FE473A9D-7737-4C3D-BF62-2CC98999355F}"/>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72F77BD8-6C6D-4E33-853C-E1CC361B7664}"/>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F082B40D-7D10-4932-B7B3-E5F4A4DA78A7}"/>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B6B40ACD-DEF8-400E-AAE5-7DFB71DB12CD}"/>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31975E9C-8933-4AC0-B32D-789842EF6518}"/>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E1FCECF0-1B3C-4E66-9D49-E93E797165B3}"/>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6A4E41CA-DCCD-49B7-A252-3F77F7609F46}"/>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7F863B20-88D1-4546-9708-F283FC1CB734}"/>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85FE9C95-360F-49F8-8CAB-F096E7D57511}"/>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A8A2A2F1-2783-441E-BF62-F28790B54C5E}"/>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C7E1B94F-F5D8-456B-AFFC-6D6B8014E3A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891E486A-D8DB-4D08-8B6D-E5D433A9C845}"/>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89EB3962-50F1-47E2-9165-6D7EDC083359}"/>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8C1028C9-8170-408E-936B-10C6B65714A8}"/>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74C448A1-5EDE-49EE-BEFD-A9B9AFA8DD6D}"/>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5530ED0F-61D5-49BC-8FBF-CBFBBE474EA5}"/>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B2D74C5-FD12-4BD1-9A70-CE2E9AF57494}"/>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131AF2FB-B1A2-4EB2-B097-FEEA42B50FDC}"/>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875E928A-8E92-47DA-B73D-12C8D94A21F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3FDF5F2D-3989-446F-9236-DAFFCEC240A3}"/>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0A654F5-A607-4D4C-BCDC-9DE8832480E2}"/>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58FE8A3D-594F-4662-A898-B16D8E2185C4}"/>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69244482-D526-4CF3-ADB6-BDE0A92D944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9B0CB5A7-8B3B-4448-A88B-D02B55C3E40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5FB2F645-B9B9-4F9F-8819-462990AEA9FA}"/>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ED603EC3-9019-4421-8CD1-23F744B100D7}"/>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D0A948F2-77D6-4B6D-A6F7-A9FA7089EE6E}"/>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C9E5563-46BE-4893-92CD-2C370B985637}"/>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9FDC529F-B302-44D0-88B6-F81B35711EC4}"/>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EF83611F-74B7-499E-BCF8-EB10A3851F68}"/>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89503EBE-2E0A-4FDA-A592-83AB7B2B191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Circle: Hollow 53">
              <a:extLst>
                <a:ext uri="{FF2B5EF4-FFF2-40B4-BE49-F238E27FC236}">
                  <a16:creationId xmlns:a16="http://schemas.microsoft.com/office/drawing/2014/main" id="{7FE96ADE-012C-4B97-BD80-4522B43E7E7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5" name="Circle: Hollow 54">
              <a:extLst>
                <a:ext uri="{FF2B5EF4-FFF2-40B4-BE49-F238E27FC236}">
                  <a16:creationId xmlns:a16="http://schemas.microsoft.com/office/drawing/2014/main" id="{92B86EB3-2A92-4BD0-9195-8BE56F188DAA}"/>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6905D59-225E-8992-F58A-53CE718DE51A}"/>
              </a:ext>
            </a:extLst>
          </p:cNvPr>
          <p:cNvGrpSpPr/>
          <p:nvPr userDrawn="1"/>
        </p:nvGrpSpPr>
        <p:grpSpPr>
          <a:xfrm>
            <a:off x="191742" y="216098"/>
            <a:ext cx="5241454" cy="644967"/>
            <a:chOff x="0" y="0"/>
            <a:chExt cx="3793402" cy="559435"/>
          </a:xfrm>
        </p:grpSpPr>
        <p:sp>
          <p:nvSpPr>
            <p:cNvPr id="3" name="Rectangle 2">
              <a:extLst>
                <a:ext uri="{FF2B5EF4-FFF2-40B4-BE49-F238E27FC236}">
                  <a16:creationId xmlns:a16="http://schemas.microsoft.com/office/drawing/2014/main" id="{97C67A01-0755-51B0-C622-5E773D28C01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4" name="Picture 3">
              <a:extLst>
                <a:ext uri="{FF2B5EF4-FFF2-40B4-BE49-F238E27FC236}">
                  <a16:creationId xmlns:a16="http://schemas.microsoft.com/office/drawing/2014/main" id="{49BE082E-B5D5-2B39-D9D4-225E5A53A9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AE2D24B0-3251-3F1C-17E6-9C885B12840F}"/>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6574DD9F-3143-9F86-755A-047117DC30B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28383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ANK YOU PAGE AS 1">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6261AAFF-27D6-4C8A-89BA-4AAB5B14A5EB}"/>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14658"/>
          <a:stretch/>
        </p:blipFill>
        <p:spPr bwMode="auto">
          <a:xfrm>
            <a:off x="0" y="0"/>
            <a:ext cx="69813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C7B41F5-2A9D-3844-E2CF-F5ED5C90A31E}"/>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0145C73A-9795-02FA-06C9-972DD2D5F88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C3B745BB-AF2D-C7BD-16AD-1A5D4C12277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66882C8A-6F9C-107A-66C2-1315E0017837}"/>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15441871-4601-9116-F512-8DFC0A8E5C5D}"/>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11659963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ANK YOU PAGE AS 2">
    <p:bg>
      <p:bgPr>
        <a:solidFill>
          <a:schemeClr val="bg1"/>
        </a:solidFill>
        <a:effectLst/>
      </p:bgPr>
    </p:bg>
    <p:spTree>
      <p:nvGrpSpPr>
        <p:cNvPr id="1" name=""/>
        <p:cNvGrpSpPr/>
        <p:nvPr/>
      </p:nvGrpSpPr>
      <p:grpSpPr>
        <a:xfrm>
          <a:off x="0" y="0"/>
          <a:ext cx="0" cy="0"/>
          <a:chOff x="0" y="0"/>
          <a:chExt cx="0" cy="0"/>
        </a:xfrm>
      </p:grpSpPr>
      <p:pic>
        <p:nvPicPr>
          <p:cNvPr id="51" name="Picture 10">
            <a:extLst>
              <a:ext uri="{FF2B5EF4-FFF2-40B4-BE49-F238E27FC236}">
                <a16:creationId xmlns:a16="http://schemas.microsoft.com/office/drawing/2014/main" id="{E573F0F9-CA34-4471-AB56-0F3FDE313E9D}"/>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4560"/>
          <a:stretch/>
        </p:blipFill>
        <p:spPr bwMode="auto">
          <a:xfrm>
            <a:off x="238" y="2606"/>
            <a:ext cx="721037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3DB7A360-BD92-2B78-F5A0-2E77FCF95CA1}"/>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C562E790-CBDD-3FCF-B678-BDDE0759B75C}"/>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5C2761A6-C82E-0D12-9305-ACCB325807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D7E38D89-D2FA-75B5-0D6D-A1F90AD98434}"/>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D696E670-052C-E078-B16B-426E81E5B181}"/>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84041557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ANK YOU PAGE AS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9207E32E-B2C1-401E-91ED-289434AFCAA1}"/>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87947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3B0D3A44-932D-4331-9E10-E770625FF8D9}"/>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589" b="99761" l="0" r="43004">
                        <a14:foregroundMark x1="10914" y1="33971" x2="93" y2="58373"/>
                        <a14:foregroundMark x1="8209" y1="4306" x2="11567" y2="22249"/>
                        <a14:foregroundMark x1="11567" y1="22249" x2="11567" y2="22249"/>
                        <a14:foregroundMark x1="9515" y1="30144" x2="840" y2="49163"/>
                        <a14:foregroundMark x1="840" y1="49163" x2="653" y2="49282"/>
                        <a14:foregroundMark x1="6716" y1="81100" x2="38340" y2="96172"/>
                        <a14:foregroundMark x1="38340" y1="96172" x2="43190" y2="96890"/>
                        <a14:foregroundMark x1="3731" y1="81220" x2="35261" y2="87679"/>
                        <a14:foregroundMark x1="35261" y1="87679" x2="40299" y2="90311"/>
                        <a14:foregroundMark x1="41698" y1="95335" x2="43097" y2="98804"/>
                        <a14:foregroundMark x1="466" y1="94498" x2="33955" y2="96890"/>
                        <a14:foregroundMark x1="6996" y1="83612" x2="24813" y2="96890"/>
                        <a14:foregroundMark x1="29757" y1="98565" x2="37780" y2="99880"/>
                        <a14:foregroundMark x1="8116" y1="30981" x2="2332" y2="36842"/>
                        <a14:foregroundMark x1="15858" y1="41388" x2="19869" y2="49761"/>
                        <a14:foregroundMark x1="7090" y1="29067" x2="2519" y2="36483"/>
                        <a14:foregroundMark x1="2519" y1="36483" x2="2425" y2="36483"/>
                        <a14:foregroundMark x1="7183" y1="4904" x2="7463" y2="12321"/>
                        <a14:foregroundMark x1="9888" y1="3589" x2="10261" y2="7656"/>
                        <a14:foregroundMark x1="21549" y1="56699" x2="21642" y2="58254"/>
                        <a14:foregroundMark x1="27791" y1="80190" x2="28731" y2="80263"/>
                        <a14:foregroundMark x1="25653" y1="80024" x2="26429" y2="80084"/>
                        <a14:foregroundMark x1="26213" y1="79187" x2="26679" y2="79187"/>
                        <a14:foregroundMark x1="41643" y1="89136" x2="42631" y2="93660"/>
                        <a14:foregroundMark x1="33165" y1="84485" x2="34795" y2="85646"/>
                        <a14:foregroundMark x1="34235" y1="84211" x2="34235" y2="84211"/>
                        <a14:foregroundMark x1="34422" y1="84330" x2="34422" y2="84330"/>
                        <a14:foregroundMark x1="34608" y1="84330" x2="34608" y2="84330"/>
                        <a14:foregroundMark x1="33606" y1="84042" x2="34235" y2="84330"/>
                        <a14:backgroundMark x1="24347" y1="61005" x2="34142" y2="77512"/>
                        <a14:backgroundMark x1="34142" y1="77512" x2="35634" y2="77033"/>
                        <a14:backgroundMark x1="24907" y1="73923" x2="32649" y2="78110"/>
                        <a14:backgroundMark x1="32649" y1="78110" x2="33022" y2="78589"/>
                        <a14:backgroundMark x1="27266" y1="78004" x2="28731" y2="78230"/>
                        <a14:backgroundMark x1="26399" y1="77871" x2="26833" y2="77938"/>
                        <a14:backgroundMark x1="36332" y1="83997" x2="36660" y2="83971"/>
                        <a14:backgroundMark x1="6437" y1="24402" x2="373" y2="30861"/>
                        <a14:backgroundMark x1="373" y1="30861" x2="2146" y2="31579"/>
                        <a14:backgroundMark x1="560" y1="35048" x2="560" y2="36244"/>
                        <a14:backgroundMark x1="1119" y1="36244" x2="746" y2="37201"/>
                        <a14:backgroundMark x1="36474" y1="77632" x2="39086" y2="83373"/>
                        <a14:backgroundMark x1="41604" y1="86005" x2="42227" y2="87364"/>
                        <a14:backgroundMark x1="42257" y1="87321" x2="42537" y2="88876"/>
                        <a14:backgroundMark x1="33396" y1="81818" x2="40299" y2="82177"/>
                        <a14:backgroundMark x1="35443" y1="83852" x2="37407" y2="83852"/>
                        <a14:backgroundMark x1="33209" y1="81699" x2="33209" y2="81699"/>
                        <a14:backgroundMark x1="32929" y1="81699" x2="32929" y2="81699"/>
                        <a14:backgroundMark x1="32649" y1="81699" x2="32649" y2="81699"/>
                        <a14:backgroundMark x1="34422" y1="83732" x2="34422" y2="83732"/>
                        <a14:backgroundMark x1="31250" y1="80383" x2="32369" y2="82177"/>
                        <a14:backgroundMark x1="31903" y1="81699" x2="33675" y2="83971"/>
                        <a14:backgroundMark x1="27612" y1="78349" x2="28638" y2="78947"/>
                      </a14:backgroundRemoval>
                    </a14:imgEffect>
                  </a14:imgLayer>
                </a14:imgProps>
              </a:ext>
              <a:ext uri="{28A0092B-C50C-407E-A947-70E740481C1C}">
                <a14:useLocalDpi xmlns:a14="http://schemas.microsoft.com/office/drawing/2010/main" val="0"/>
              </a:ext>
            </a:extLst>
          </a:blip>
          <a:srcRect t="2565" r="55360"/>
          <a:stretch/>
        </p:blipFill>
        <p:spPr bwMode="auto">
          <a:xfrm>
            <a:off x="-27525" y="175886"/>
            <a:ext cx="4020928" cy="670799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A652C24-EAED-EBE1-9D68-ABD918EF6F55}"/>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482C7FC7-E036-62B4-8131-50B91E3D6BC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5157A9FA-558C-420A-A312-F7348E06A66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3520B2FD-1040-0236-F8A4-4445882B6F06}"/>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AA14D25-990E-DE87-CEC3-22C2D1474668}"/>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71438103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AGE AS 4">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20ADC257-02FB-4A7B-B271-AE9B32D1B3C1}"/>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81" y="0"/>
            <a:ext cx="80756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31C27CDD-E521-4D44-885E-AB87A77D4265}"/>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3531" b="98732" l="180" r="51706">
                        <a14:foregroundMark x1="21364" y1="13531" x2="15889" y2="37209"/>
                        <a14:foregroundMark x1="26391" y1="16490" x2="36266" y2="42495"/>
                        <a14:foregroundMark x1="36266" y1="42495" x2="36355" y2="43658"/>
                        <a14:foregroundMark x1="359" y1="29598" x2="15081" y2="30233"/>
                        <a14:foregroundMark x1="10682" y1="26321" x2="9246" y2="30550"/>
                        <a14:foregroundMark x1="21095" y1="29810" x2="24417" y2="36469"/>
                        <a14:foregroundMark x1="808" y1="65751" x2="3501" y2="98837"/>
                        <a14:foregroundMark x1="1077" y1="96617" x2="1077" y2="96617"/>
                        <a14:foregroundMark x1="19300" y1="91438" x2="41023" y2="93763"/>
                        <a14:foregroundMark x1="41023" y1="93763" x2="45781" y2="97252"/>
                        <a14:foregroundMark x1="27828" y1="97252" x2="38959" y2="97357"/>
                        <a14:foregroundMark x1="19659" y1="92600" x2="45601" y2="73467"/>
                        <a14:foregroundMark x1="45601" y1="73467" x2="50718" y2="66808"/>
                        <a14:foregroundMark x1="50718" y1="66808" x2="50987" y2="65751"/>
                        <a14:foregroundMark x1="48115" y1="73362" x2="44844" y2="82321"/>
                        <a14:foregroundMark x1="49372" y1="72622" x2="48333" y2="77592"/>
                        <a14:foregroundMark x1="49192" y1="75370" x2="49124" y2="76188"/>
                        <a14:foregroundMark x1="6732" y1="24630" x2="5386" y2="29493"/>
                        <a14:foregroundMark x1="359" y1="28330" x2="7361" y2="28858"/>
                        <a14:foregroundMark x1="31598" y1="76321" x2="36445" y2="71987"/>
                        <a14:foregroundMark x1="36445" y1="71987" x2="36445" y2="71987"/>
                        <a14:foregroundMark x1="51706" y1="65328" x2="51706" y2="65328"/>
                        <a14:foregroundMark x1="2693" y1="57082" x2="808" y2="66702"/>
                        <a14:foregroundMark x1="628" y1="57822" x2="1257" y2="64482"/>
                        <a14:foregroundMark x1="36715" y1="71036" x2="36715" y2="72727"/>
                        <a14:foregroundMark x1="29623" y1="44715" x2="29533" y2="46300"/>
                        <a14:foregroundMark x1="47038" y1="79070" x2="46409" y2="84567"/>
                        <a14:foregroundMark x1="45871" y1="84249" x2="40305" y2="86892"/>
                        <a14:foregroundMark x1="41293" y1="86469" x2="39677" y2="89218"/>
                        <a14:foregroundMark x1="48115" y1="79281" x2="48115" y2="79493"/>
                        <a14:foregroundMark x1="47127" y1="79493" x2="48115" y2="82030"/>
                        <a14:backgroundMark x1="16338" y1="69027" x2="45961" y2="57400"/>
                        <a14:backgroundMark x1="42255" y1="87987" x2="44704" y2="87421"/>
                        <a14:backgroundMark x1="16068" y1="66702" x2="34111" y2="60359"/>
                        <a14:backgroundMark x1="20916" y1="62579" x2="31329" y2="55074"/>
                        <a14:backgroundMark x1="31329" y1="55074" x2="36804" y2="46300"/>
                        <a14:backgroundMark x1="14632" y1="60571" x2="17594" y2="64482"/>
                        <a14:backgroundMark x1="18851" y1="73679" x2="23160" y2="78753"/>
                        <a14:backgroundMark x1="48474" y1="77907" x2="48474" y2="77907"/>
                        <a14:backgroundMark x1="48025" y1="77907" x2="49551" y2="78436"/>
                        <a14:backgroundMark x1="47756" y1="78013" x2="49192" y2="77484"/>
                        <a14:backgroundMark x1="48384" y1="77590" x2="48419" y2="78839"/>
                      </a14:backgroundRemoval>
                    </a14:imgEffect>
                  </a14:imgLayer>
                </a14:imgProps>
              </a:ext>
              <a:ext uri="{28A0092B-C50C-407E-A947-70E740481C1C}">
                <a14:useLocalDpi xmlns:a14="http://schemas.microsoft.com/office/drawing/2010/main" val="0"/>
              </a:ext>
            </a:extLst>
          </a:blip>
          <a:srcRect t="11969" r="45115"/>
          <a:stretch/>
        </p:blipFill>
        <p:spPr bwMode="auto">
          <a:xfrm>
            <a:off x="-9526" y="820852"/>
            <a:ext cx="4429125" cy="604667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38C2689E-DB31-E365-F9BE-B986286701D8}"/>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D70CAFFE-E70C-DAA3-3797-AA0470B52602}"/>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ABADD482-1F56-1D09-5B85-A3CB74852C6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65FA6ECE-F54A-5D05-C5F2-2E28771436EB}"/>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CC1A7B80-E1AD-23B7-D5E9-6D5EA0CA1ED2}"/>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7149240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PAGE SA 1">
    <p:bg>
      <p:bgPr>
        <a:solidFill>
          <a:schemeClr val="bg1"/>
        </a:solidFill>
        <a:effectLst/>
      </p:bgPr>
    </p:bg>
    <p:spTree>
      <p:nvGrpSpPr>
        <p:cNvPr id="1" name=""/>
        <p:cNvGrpSpPr/>
        <p:nvPr/>
      </p:nvGrpSpPr>
      <p:grpSpPr>
        <a:xfrm>
          <a:off x="0" y="0"/>
          <a:ext cx="0" cy="0"/>
          <a:chOff x="0" y="0"/>
          <a:chExt cx="0" cy="0"/>
        </a:xfrm>
      </p:grpSpPr>
      <p:pic>
        <p:nvPicPr>
          <p:cNvPr id="51" name="Picture 4">
            <a:extLst>
              <a:ext uri="{FF2B5EF4-FFF2-40B4-BE49-F238E27FC236}">
                <a16:creationId xmlns:a16="http://schemas.microsoft.com/office/drawing/2014/main" id="{FA03A50D-6AE3-4A1A-82A4-F1160A10ADA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2" y="0"/>
            <a:ext cx="700241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70CD417A-0009-2EEE-1ADA-58471E0D96DA}"/>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AA90369D-D455-B817-4604-AFE7E925A62B}"/>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074E6E74-08FC-7D3D-5708-63C41D432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6DE33CF8-5E07-ACD0-EF6E-27F3DE762090}"/>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5C3787D9-B271-18E5-85F1-02A1639C83D9}"/>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8027472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AGE SA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1FD565F1-CE52-423C-837B-CE26808A5943}"/>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a:extLst>
              <a:ext uri="{FF2B5EF4-FFF2-40B4-BE49-F238E27FC236}">
                <a16:creationId xmlns:a16="http://schemas.microsoft.com/office/drawing/2014/main" id="{DAA12FF9-FC73-42F4-A8C0-06B425D68C24}"/>
              </a:ext>
            </a:extLst>
          </p:cNvPr>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A01B7E1-35C3-26D1-1D38-0CC094736FBF}"/>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4A8FDEA3-1DAF-A998-FD6E-11AF1AC5C38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422CD248-396C-4E5D-2EC0-00CF958F1D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03E12A99-4D9F-F515-A4F8-8817952BAB2A}"/>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AE6C7E01-A5AE-EB2E-9049-44C26E729D2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1433125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PAGE SA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B7E2BD9D-D657-4CE8-842A-767172F34AEB}"/>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1968" y="0"/>
            <a:ext cx="728432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F7FBFF91-A105-41A9-866A-189BD0AE5F5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36" b="99466" l="65302" r="96520">
                        <a14:foregroundMark x1="96622" y1="59188" x2="96520" y2="61111"/>
                        <a14:foregroundMark x1="96622" y1="54701" x2="95906" y2="56944"/>
                        <a14:foregroundMark x1="82600" y1="24573" x2="80348" y2="27457"/>
                        <a14:foregroundMark x1="84749" y1="22436" x2="90276" y2="24038"/>
                        <a14:foregroundMark x1="67451" y1="63034" x2="65404" y2="64103"/>
                        <a14:foregroundMark x1="94063" y1="77350" x2="95906" y2="99466"/>
                        <a14:foregroundMark x1="78506" y1="83120" x2="73900" y2="98504"/>
                        <a14:foregroundMark x1="87206" y1="22650" x2="87206" y2="22650"/>
                        <a14:foregroundMark x1="87206" y1="22329" x2="85466" y2="22222"/>
                        <a14:backgroundMark x1="72979" y1="91239" x2="71341" y2="99573"/>
                        <a14:backgroundMark x1="85670" y1="21902" x2="85670" y2="21902"/>
                      </a14:backgroundRemoval>
                    </a14:imgEffect>
                  </a14:imgLayer>
                </a14:imgProps>
              </a:ext>
              <a:ext uri="{28A0092B-C50C-407E-A947-70E740481C1C}">
                <a14:useLocalDpi xmlns:a14="http://schemas.microsoft.com/office/drawing/2010/main" val="0"/>
              </a:ext>
            </a:extLst>
          </a:blip>
          <a:srcRect l="63474"/>
          <a:stretch/>
        </p:blipFill>
        <p:spPr bwMode="auto">
          <a:xfrm flipH="1">
            <a:off x="-35859" y="-46506"/>
            <a:ext cx="2680288" cy="69085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B48F8CF1-A005-A1F4-565C-17428D9DF454}"/>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ADB944D3-BBED-8A94-B6B0-CA04078B6E5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D41E1C0A-639E-C4E8-5B7C-39AD2F95C79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DC0784DC-F93E-5400-5000-747EC66FADD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CB57949E-4958-F643-95B4-64C62A873B6A}"/>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5806276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PAGE WE 1">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B84BBC7B-39A7-4D33-8578-775F6C133ECA}"/>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1"/>
            <a:ext cx="7130921" cy="686429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7C854E6B-B80E-A1CA-8674-2C7003EDBA74}"/>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AA39506E-BFAB-475E-7F65-8064FC43E60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6D1D53B7-8929-B74D-A3E6-148C9BBFE9C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C452800D-1AD5-2B75-F831-B8C4CB1A5C0A}"/>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404732B-2FC7-CE81-425C-A8E7A18B768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190690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BJECTIVES PAGE_IMAG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FA3418-0396-490C-A419-013921E19A88}"/>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 end of this module you will be able to:</a:t>
            </a:r>
          </a:p>
        </p:txBody>
      </p:sp>
      <p:sp>
        <p:nvSpPr>
          <p:cNvPr id="2" name="Oval 1">
            <a:extLst>
              <a:ext uri="{FF2B5EF4-FFF2-40B4-BE49-F238E27FC236}">
                <a16:creationId xmlns:a16="http://schemas.microsoft.com/office/drawing/2014/main" id="{23ADD9C8-F505-F387-6A83-94A7167636BD}"/>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ircle: Hollow 2">
            <a:extLst>
              <a:ext uri="{FF2B5EF4-FFF2-40B4-BE49-F238E27FC236}">
                <a16:creationId xmlns:a16="http://schemas.microsoft.com/office/drawing/2014/main" id="{38335404-23E4-214B-40CF-0D5E34B8C82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4" name="Circle: Hollow 3">
            <a:extLst>
              <a:ext uri="{FF2B5EF4-FFF2-40B4-BE49-F238E27FC236}">
                <a16:creationId xmlns:a16="http://schemas.microsoft.com/office/drawing/2014/main" id="{3331DB0F-033C-00F0-0DEA-20406F0797B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7" name="Picture Placeholder 15" descr="Diagram, venn diagram&#10;&#10;Description automatically generated">
            <a:extLst>
              <a:ext uri="{FF2B5EF4-FFF2-40B4-BE49-F238E27FC236}">
                <a16:creationId xmlns:a16="http://schemas.microsoft.com/office/drawing/2014/main" id="{5E5FB6B2-7168-B6E6-8058-DC88D4C247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4414" t="13326" r="11338" b="12427"/>
          <a:stretch/>
        </p:blipFill>
        <p:spPr>
          <a:xfrm>
            <a:off x="8692877" y="-308696"/>
            <a:ext cx="3892823" cy="3892823"/>
          </a:xfrm>
          <a:prstGeom prst="ellipse">
            <a:avLst/>
          </a:prstGeom>
        </p:spPr>
      </p:pic>
      <p:sp>
        <p:nvSpPr>
          <p:cNvPr id="5" name="Slide Number Placeholder 4">
            <a:extLst>
              <a:ext uri="{FF2B5EF4-FFF2-40B4-BE49-F238E27FC236}">
                <a16:creationId xmlns:a16="http://schemas.microsoft.com/office/drawing/2014/main" id="{4A68BCBA-A82C-A0F4-A58E-AB3C61A84F90}"/>
              </a:ext>
            </a:extLst>
          </p:cNvPr>
          <p:cNvSpPr>
            <a:spLocks noGrp="1"/>
          </p:cNvSpPr>
          <p:nvPr>
            <p:ph type="sldNum" sz="quarter" idx="14"/>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19401270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PAGE WE 2">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18DE8AAD-FEFC-4530-86CB-BEBAEEEFC79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392" y="494278"/>
            <a:ext cx="7282925" cy="636372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FFC93946-E9C1-47E2-BDD7-231CD60BB7CC}"/>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299" b="99485" l="0" r="45405">
                        <a14:foregroundMark x1="17568" y1="3299" x2="24775" y2="15979"/>
                        <a14:foregroundMark x1="9550" y1="38454" x2="23604" y2="78144"/>
                        <a14:foregroundMark x1="23604" y1="78144" x2="37748" y2="99485"/>
                        <a14:foregroundMark x1="36757" y1="38041" x2="1081" y2="93299"/>
                        <a14:foregroundMark x1="7387" y1="39897" x2="631" y2="43402"/>
                        <a14:foregroundMark x1="631" y1="43402" x2="0" y2="44948"/>
                        <a14:foregroundMark x1="40360" y1="48454" x2="45405" y2="65464"/>
                        <a14:foregroundMark x1="34595" y1="70722" x2="35766" y2="82784"/>
                        <a14:foregroundMark x1="9730" y1="94742" x2="13423" y2="98866"/>
                        <a14:foregroundMark x1="13784" y1="14845" x2="23153" y2="22062"/>
                        <a14:foregroundMark x1="21712" y1="15567" x2="23243" y2="22371"/>
                        <a14:foregroundMark x1="12613" y1="14845" x2="15495" y2="21856"/>
                        <a14:foregroundMark x1="9009" y1="18557" x2="9550" y2="20412"/>
                        <a14:foregroundMark x1="10270" y1="23711" x2="10541" y2="24948"/>
                        <a14:foregroundMark x1="10028" y1="25361" x2="10090" y2="26495"/>
                        <a14:foregroundMark x1="10000" y1="24845" x2="10028" y2="25361"/>
                        <a14:foregroundMark x1="10541" y1="27010" x2="11622" y2="26701"/>
                        <a14:foregroundMark x1="25225" y1="24845" x2="25676" y2="26289"/>
                        <a14:foregroundMark x1="25315" y1="26082" x2="25045" y2="27320"/>
                        <a14:foregroundMark x1="11351" y1="25258" x2="11351" y2="25258"/>
                        <a14:foregroundMark x1="12162" y1="34845" x2="12162" y2="34845"/>
                        <a14:foregroundMark x1="12703" y1="34536" x2="12703" y2="34536"/>
                        <a14:foregroundMark x1="10360" y1="37835" x2="10360" y2="37835"/>
                        <a14:foregroundMark x1="27658" y1="36392" x2="27658" y2="36392"/>
                        <a14:backgroundMark x1="31171" y1="26392" x2="42342" y2="31959"/>
                        <a14:backgroundMark x1="30090" y1="35258" x2="30090" y2="35258"/>
                        <a14:backgroundMark x1="33153" y1="35670" x2="36757" y2="36495"/>
                        <a14:backgroundMark x1="25045" y1="26186" x2="25045" y2="26186"/>
                        <a14:backgroundMark x1="9820" y1="23711" x2="9820" y2="23711"/>
                        <a14:backgroundMark x1="10901" y1="25361" x2="10901" y2="25361"/>
                        <a14:backgroundMark x1="10721" y1="24845" x2="10721" y2="24845"/>
                        <a14:backgroundMark x1="12072" y1="34845" x2="12072" y2="34845"/>
                      </a14:backgroundRemoval>
                    </a14:imgEffect>
                  </a14:imgLayer>
                </a14:imgProps>
              </a:ext>
              <a:ext uri="{28A0092B-C50C-407E-A947-70E740481C1C}">
                <a14:useLocalDpi xmlns:a14="http://schemas.microsoft.com/office/drawing/2010/main" val="0"/>
              </a:ext>
            </a:extLst>
          </a:blip>
          <a:srcRect t="2565" r="53566"/>
          <a:stretch/>
        </p:blipFill>
        <p:spPr bwMode="auto">
          <a:xfrm>
            <a:off x="-9046" y="691342"/>
            <a:ext cx="3368018" cy="617527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7C61399-1115-D882-FEF6-5C12A4F48F10}"/>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48B3E6CC-E433-AFD8-8FEC-C2F98EAFD8C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7C261FBD-9BDF-3417-9570-1D7416E811F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5EE01E7D-08ED-D1BF-2F7C-F92196C9BD1E}"/>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8270B59F-F23D-076A-C867-D2AD97CA1269}"/>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5309432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ANK YOU PAGE WE 3">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28B3ECE0-8905-43FD-8F36-C1CFE1BA276D}"/>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4501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79D23DAE-CA4D-43DB-81D3-233899ABDF9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9127" b="99688" l="96" r="38182">
                        <a14:foregroundMark x1="10622" y1="19127" x2="18182" y2="28586"/>
                        <a14:foregroundMark x1="17432" y1="19975" x2="22070" y2="29665"/>
                        <a14:foregroundMark x1="12057" y1="25572" x2="96" y2="49688"/>
                        <a14:foregroundMark x1="13110" y1="29210" x2="13397" y2="33472"/>
                        <a14:foregroundMark x1="27870" y1="30497" x2="24593" y2="74428"/>
                        <a14:foregroundMark x1="24593" y1="74428" x2="24593" y2="74428"/>
                        <a14:foregroundMark x1="31770" y1="48649" x2="33876" y2="63825"/>
                        <a14:foregroundMark x1="33876" y1="63825" x2="33493" y2="67048"/>
                        <a14:foregroundMark x1="29569" y1="58316" x2="28134" y2="69335"/>
                        <a14:foregroundMark x1="28134" y1="68295" x2="24880" y2="78067"/>
                        <a14:foregroundMark x1="24306" y1="71830" x2="23062" y2="88150"/>
                        <a14:foregroundMark x1="23062" y1="88150" x2="25167" y2="92827"/>
                        <a14:foregroundMark x1="11005" y1="84304" x2="6603" y2="96258"/>
                        <a14:foregroundMark x1="6603" y1="96258" x2="3158" y2="99792"/>
                        <a14:foregroundMark x1="4498" y1="81809" x2="3158" y2="96778"/>
                        <a14:foregroundMark x1="3158" y1="96778" x2="2871" y2="97505"/>
                        <a14:foregroundMark x1="9856" y1="94699" x2="19426" y2="98441"/>
                        <a14:foregroundMark x1="23349" y1="90333" x2="26411" y2="99896"/>
                        <a14:foregroundMark x1="24976" y1="92620" x2="28134" y2="99272"/>
                        <a14:foregroundMark x1="28134" y1="99272" x2="28134" y2="99272"/>
                        <a14:foregroundMark x1="27560" y1="85655" x2="27560" y2="85655"/>
                        <a14:foregroundMark x1="26603" y1="93555" x2="29187" y2="99896"/>
                        <a14:foregroundMark x1="34737" y1="33992" x2="38086" y2="35863"/>
                        <a14:foregroundMark x1="38182" y1="33160" x2="37608" y2="35551"/>
                        <a14:foregroundMark x1="36364" y1="32744" x2="37321" y2="33160"/>
                        <a14:foregroundMark x1="28038" y1="83992" x2="28038" y2="83992"/>
                        <a14:foregroundMark x1="28325" y1="68295" x2="31579" y2="72661"/>
                        <a14:backgroundMark x1="4402" y1="19751" x2="4211" y2="26403"/>
                        <a14:backgroundMark x1="15311" y1="18711" x2="17608" y2="19751"/>
                        <a14:backgroundMark x1="26316" y1="26299" x2="26603" y2="28690"/>
                        <a14:backgroundMark x1="26411" y1="27131" x2="23158" y2="30977"/>
                        <a14:backgroundMark x1="27368" y1="29210" x2="30144" y2="28690"/>
                        <a14:backgroundMark x1="20861" y1="34927" x2="20861" y2="34927"/>
                        <a14:backgroundMark x1="22105" y1="31913" x2="22105" y2="31913"/>
                        <a14:backgroundMark x1="4211" y1="30353" x2="4211" y2="30353"/>
                        <a14:backgroundMark x1="4306" y1="27651" x2="4306" y2="27651"/>
                        <a14:backgroundMark x1="4976" y1="25364" x2="4976" y2="27027"/>
                      </a14:backgroundRemoval>
                    </a14:imgEffect>
                  </a14:imgLayer>
                </a14:imgProps>
              </a:ext>
              <a:ext uri="{28A0092B-C50C-407E-A947-70E740481C1C}">
                <a14:useLocalDpi xmlns:a14="http://schemas.microsoft.com/office/drawing/2010/main" val="0"/>
              </a:ext>
            </a:extLst>
          </a:blip>
          <a:srcRect t="17576" r="59636"/>
          <a:stretch/>
        </p:blipFill>
        <p:spPr bwMode="auto">
          <a:xfrm>
            <a:off x="0" y="1205379"/>
            <a:ext cx="3007187" cy="565262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1A59FB4F-C7EF-501F-4B20-9930E78C9C44}"/>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73A61DA0-A7E4-CCFF-6732-C2ED9C88534B}"/>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37095584-F96C-C5A7-516F-1B28373032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A43C9ADC-96A5-3BE2-03CB-80FF7D637229}"/>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A78285D-9954-BC9C-9DE1-737A4EB61E4B}"/>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1096639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ANK YOU PAGE OTHER 1">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C902C83D-4C13-410D-8053-A68EDCD3CE3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38" y="-1"/>
            <a:ext cx="7961613" cy="686239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1CA555E5-19C0-EFCF-9AC1-B57D615F9466}"/>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E952B635-C469-01FD-ED72-20B22EBB9562}"/>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31152B8C-CDD3-F8A7-A7A4-C987829757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2092BEBB-21F5-12E5-9A4E-E028D828F0A0}"/>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F320C5F9-A5C8-CB3F-E068-4737E06AB14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9843257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AGE OTHER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4C09028A-120A-4A2D-A0F6-8C6E56A3B367}"/>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6787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B13AD673-57C3-4D5B-8979-8AD868B5A0FA}"/>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0144" b="82297" l="107" r="62073">
                        <a14:foregroundMark x1="107" y1="47608" x2="1709" y2="56459"/>
                        <a14:foregroundMark x1="12738" y1="64682" x2="43590" y2="75957"/>
                        <a14:foregroundMark x1="2350" y1="60885" x2="4250" y2="61579"/>
                        <a14:foregroundMark x1="43590" y1="75957" x2="56517" y2="78230"/>
                        <a14:foregroundMark x1="5401" y1="64408" x2="13248" y2="82297"/>
                        <a14:foregroundMark x1="37607" y1="30263" x2="39957" y2="35526"/>
                        <a14:foregroundMark x1="58761" y1="38517" x2="58226" y2="41986"/>
                        <a14:foregroundMark x1="58994" y1="48565" x2="58974" y2="49880"/>
                        <a14:foregroundMark x1="59025" y1="46522" x2="59019" y2="46890"/>
                        <a14:foregroundMark x1="59081" y1="42823" x2="59062" y2="44106"/>
                        <a14:foregroundMark x1="60897" y1="52273" x2="60897" y2="58732"/>
                        <a14:foregroundMark x1="62073" y1="66148" x2="55769" y2="75239"/>
                        <a14:foregroundMark x1="55769" y1="75239" x2="55342" y2="75598"/>
                        <a14:foregroundMark x1="19017" y1="60287" x2="26068" y2="60526"/>
                        <a14:foregroundMark x1="26068" y1="60526" x2="35043" y2="60167"/>
                        <a14:foregroundMark x1="35043" y1="60167" x2="35470" y2="60048"/>
                        <a14:backgroundMark x1="3526" y1="48565" x2="6197" y2="57536"/>
                        <a14:backgroundMark x1="50962" y1="54067" x2="50855" y2="64952"/>
                        <a14:backgroundMark x1="50855" y1="64952" x2="50855" y2="64952"/>
                        <a14:backgroundMark x1="58761" y1="44019" x2="58226" y2="46292"/>
                        <a14:backgroundMark x1="58761" y1="46651" x2="58761" y2="46651"/>
                        <a14:backgroundMark x1="58761" y1="46890" x2="58761" y2="48565"/>
                        <a14:backgroundMark x1="534" y1="62919" x2="2350" y2="64833"/>
                        <a14:backgroundMark x1="4487" y1="63278" x2="5662" y2="64115"/>
                        <a14:backgroundMark x1="4060" y1="62560" x2="5342" y2="62679"/>
                        <a14:backgroundMark x1="5449" y1="64593" x2="5449" y2="64593"/>
                        <a14:backgroundMark x1="5983" y1="62201" x2="5449" y2="64474"/>
                        <a14:backgroundMark x1="6624" y1="62560" x2="11432" y2="63995"/>
                        <a14:backgroundMark x1="12714" y1="62201" x2="13782" y2="63995"/>
                        <a14:backgroundMark x1="14850" y1="63038" x2="20513" y2="63158"/>
                        <a14:backgroundMark x1="17968" y1="62097" x2="19444" y2="62201"/>
                        <a14:backgroundMark x1="21304" y1="62105" x2="21154" y2="62440"/>
                        <a14:backgroundMark x1="22543" y1="62081" x2="23397" y2="62799"/>
                        <a14:backgroundMark x1="26380" y1="62202" x2="26923" y2="63158"/>
                        <a14:backgroundMark x1="25852" y1="62259" x2="27671" y2="63278"/>
                        <a14:backgroundMark x1="29292" y1="62086" x2="30449" y2="62919"/>
                        <a14:backgroundMark x1="33883" y1="62253" x2="35363" y2="63038"/>
                        <a14:backgroundMark x1="34081" y1="63278" x2="35256" y2="63278"/>
                        <a14:backgroundMark x1="31554" y1="61996" x2="32372" y2="63278"/>
                        <a14:backgroundMark x1="31410" y1="62560" x2="31303" y2="63278"/>
                        <a14:backgroundMark x1="29382" y1="58705" x2="27671" y2="58254"/>
                        <a14:backgroundMark x1="38034" y1="57656" x2="36218" y2="58134"/>
                        <a14:backgroundMark x1="33120" y1="57416" x2="33120" y2="57416"/>
                        <a14:backgroundMark x1="47543" y1="65789" x2="48825" y2="68301"/>
                        <a14:backgroundMark x1="60791" y1="66148" x2="60791" y2="66148"/>
                        <a14:backgroundMark x1="40705" y1="65909" x2="41667" y2="67464"/>
                      </a14:backgroundRemoval>
                    </a14:imgEffect>
                  </a14:imgLayer>
                </a14:imgProps>
              </a:ext>
              <a:ext uri="{28A0092B-C50C-407E-A947-70E740481C1C}">
                <a14:useLocalDpi xmlns:a14="http://schemas.microsoft.com/office/drawing/2010/main" val="0"/>
              </a:ext>
            </a:extLst>
          </a:blip>
          <a:srcRect t="29007" r="33283" b="16293"/>
          <a:stretch/>
        </p:blipFill>
        <p:spPr bwMode="auto">
          <a:xfrm>
            <a:off x="1" y="1989252"/>
            <a:ext cx="5123072" cy="37513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791550C-641B-D8FC-A9D2-4C79E3F902D6}"/>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EBFE0685-AB73-8339-6AC9-806A3E769D36}"/>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A0F3FF26-8896-115C-5ED6-3174A03DFAA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9434D845-2063-63CE-0A42-97C31C21CA79}"/>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BCC90E82-92E8-F48A-46B0-1D5CA17F1216}"/>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8101935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ANK YOU PAGE OTHER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AC757853-035A-45B5-8E0E-9B9016F39CB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27" y="0"/>
            <a:ext cx="69770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17A2D106-0FD4-4D4C-9B41-4C91A2F166F8}"/>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49826" b="99187" l="685" r="58904">
                        <a14:foregroundMark x1="15868" y1="49826" x2="16438" y2="51684"/>
                        <a14:foregroundMark x1="4680" y1="79559" x2="1027" y2="94774"/>
                        <a14:foregroundMark x1="8562" y1="96516" x2="31279" y2="99419"/>
                        <a14:foregroundMark x1="31279" y1="99419" x2="39612" y2="98490"/>
                        <a14:foregroundMark x1="45662" y1="98490" x2="47831" y2="98839"/>
                        <a14:foregroundMark x1="15639" y1="52846" x2="15639" y2="52846"/>
                        <a14:foregroundMark x1="18151" y1="50871" x2="18151" y2="50871"/>
                        <a14:foregroundMark x1="18151" y1="50871" x2="16553" y2="51916"/>
                        <a14:foregroundMark x1="55708" y1="54239" x2="55936" y2="61324"/>
                        <a14:foregroundMark x1="55936" y1="61324" x2="55936" y2="61324"/>
                        <a14:foregroundMark x1="57306" y1="57027" x2="58904" y2="61208"/>
                        <a14:backgroundMark x1="9247" y1="51336" x2="8904" y2="67131"/>
                        <a14:backgroundMark x1="26826" y1="53891" x2="42352" y2="66434"/>
                        <a14:backgroundMark x1="28653" y1="71429" x2="36644" y2="73055"/>
                        <a14:backgroundMark x1="28082" y1="71196" x2="28082" y2="71196"/>
                      </a14:backgroundRemoval>
                    </a14:imgEffect>
                  </a14:imgLayer>
                </a14:imgProps>
              </a:ext>
              <a:ext uri="{28A0092B-C50C-407E-A947-70E740481C1C}">
                <a14:useLocalDpi xmlns:a14="http://schemas.microsoft.com/office/drawing/2010/main" val="0"/>
              </a:ext>
            </a:extLst>
          </a:blip>
          <a:srcRect t="48125" r="49980" b="-1"/>
          <a:stretch/>
        </p:blipFill>
        <p:spPr bwMode="auto">
          <a:xfrm>
            <a:off x="-11668" y="3295973"/>
            <a:ext cx="3489895" cy="355757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105230" y="240788"/>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EDDCB50-D374-B820-4835-F855C85B0B35}"/>
              </a:ext>
            </a:extLst>
          </p:cNvPr>
          <p:cNvGrpSpPr/>
          <p:nvPr userDrawn="1"/>
        </p:nvGrpSpPr>
        <p:grpSpPr>
          <a:xfrm>
            <a:off x="191742" y="216098"/>
            <a:ext cx="5241454" cy="644967"/>
            <a:chOff x="0" y="0"/>
            <a:chExt cx="3793402" cy="559435"/>
          </a:xfrm>
        </p:grpSpPr>
        <p:sp>
          <p:nvSpPr>
            <p:cNvPr id="4" name="Rectangle 3">
              <a:extLst>
                <a:ext uri="{FF2B5EF4-FFF2-40B4-BE49-F238E27FC236}">
                  <a16:creationId xmlns:a16="http://schemas.microsoft.com/office/drawing/2014/main" id="{72C71C31-95EC-3672-100A-9AC13D99EFC1}"/>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5" name="Picture 4">
              <a:extLst>
                <a:ext uri="{FF2B5EF4-FFF2-40B4-BE49-F238E27FC236}">
                  <a16:creationId xmlns:a16="http://schemas.microsoft.com/office/drawing/2014/main" id="{9FB6B31F-BB76-0AC8-19AC-AFA66CBC48F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32E18452-BAAF-DD4D-3A64-C7DDDDEFE3E3}"/>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A578641D-4EF4-98A6-579E-E9D600993BE9}"/>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829185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LASHPAGE AF 2">
    <p:bg>
      <p:bgPr>
        <a:solidFill>
          <a:schemeClr val="bg1"/>
        </a:solidFill>
        <a:effectLst/>
      </p:bgPr>
    </p:bg>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AC8B736D-BE55-4CC1-AA19-C0883264D3B3}"/>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a:extLst>
              <a:ext uri="{FF2B5EF4-FFF2-40B4-BE49-F238E27FC236}">
                <a16:creationId xmlns:a16="http://schemas.microsoft.com/office/drawing/2014/main" id="{32358697-E1BE-4BC9-B487-F3AAF76A07C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55" name="Group 54">
            <a:extLst>
              <a:ext uri="{FF2B5EF4-FFF2-40B4-BE49-F238E27FC236}">
                <a16:creationId xmlns:a16="http://schemas.microsoft.com/office/drawing/2014/main" id="{B4AEC8F3-05D1-4FBF-BE72-97709EA1EAB0}"/>
              </a:ext>
            </a:extLst>
          </p:cNvPr>
          <p:cNvGrpSpPr/>
          <p:nvPr userDrawn="1"/>
        </p:nvGrpSpPr>
        <p:grpSpPr>
          <a:xfrm>
            <a:off x="6073832" y="268219"/>
            <a:ext cx="5836821" cy="5088756"/>
            <a:chOff x="5836362" y="68074"/>
            <a:chExt cx="6083274" cy="5355263"/>
          </a:xfrm>
        </p:grpSpPr>
        <p:sp>
          <p:nvSpPr>
            <p:cNvPr id="57" name="Oval 56">
              <a:extLst>
                <a:ext uri="{FF2B5EF4-FFF2-40B4-BE49-F238E27FC236}">
                  <a16:creationId xmlns:a16="http://schemas.microsoft.com/office/drawing/2014/main" id="{5AF443D3-F812-4F86-8B8E-E5816A3E1170}"/>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Circle: Hollow 57">
              <a:extLst>
                <a:ext uri="{FF2B5EF4-FFF2-40B4-BE49-F238E27FC236}">
                  <a16:creationId xmlns:a16="http://schemas.microsoft.com/office/drawing/2014/main" id="{9D95686D-A19F-4FBB-B1D5-3511D14F37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9" name="Circle: Hollow 58">
              <a:extLst>
                <a:ext uri="{FF2B5EF4-FFF2-40B4-BE49-F238E27FC236}">
                  <a16:creationId xmlns:a16="http://schemas.microsoft.com/office/drawing/2014/main" id="{0BC42117-CDE5-46AC-8D46-B6332B460CB2}"/>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60" name="Oval 59">
              <a:extLst>
                <a:ext uri="{FF2B5EF4-FFF2-40B4-BE49-F238E27FC236}">
                  <a16:creationId xmlns:a16="http://schemas.microsoft.com/office/drawing/2014/main" id="{289C79DA-BCA2-4018-BEFB-181F9216520E}"/>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Circle: Hollow 60">
              <a:extLst>
                <a:ext uri="{FF2B5EF4-FFF2-40B4-BE49-F238E27FC236}">
                  <a16:creationId xmlns:a16="http://schemas.microsoft.com/office/drawing/2014/main" id="{D0EF23F0-FD20-46AA-AE67-872B404AB78D}"/>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2" name="Oval 61">
              <a:extLst>
                <a:ext uri="{FF2B5EF4-FFF2-40B4-BE49-F238E27FC236}">
                  <a16:creationId xmlns:a16="http://schemas.microsoft.com/office/drawing/2014/main" id="{27180E7E-8326-4795-9C6A-34CDD3858C60}"/>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Circle: Hollow 62">
              <a:extLst>
                <a:ext uri="{FF2B5EF4-FFF2-40B4-BE49-F238E27FC236}">
                  <a16:creationId xmlns:a16="http://schemas.microsoft.com/office/drawing/2014/main" id="{7A2CAE88-E9E1-4077-8B53-9B96F596121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64" name="Oval 63">
              <a:extLst>
                <a:ext uri="{FF2B5EF4-FFF2-40B4-BE49-F238E27FC236}">
                  <a16:creationId xmlns:a16="http://schemas.microsoft.com/office/drawing/2014/main" id="{205D7D68-BCAA-475C-9132-75C2BA90D0D3}"/>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Circle: Hollow 69">
              <a:extLst>
                <a:ext uri="{FF2B5EF4-FFF2-40B4-BE49-F238E27FC236}">
                  <a16:creationId xmlns:a16="http://schemas.microsoft.com/office/drawing/2014/main" id="{A87B830C-E710-4D36-84CB-310EE9A5DBC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1" name="Circle: Hollow 70">
              <a:extLst>
                <a:ext uri="{FF2B5EF4-FFF2-40B4-BE49-F238E27FC236}">
                  <a16:creationId xmlns:a16="http://schemas.microsoft.com/office/drawing/2014/main" id="{E4239021-43E9-4E39-BB61-34836FF5D4DF}"/>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2" name="Oval 71">
              <a:extLst>
                <a:ext uri="{FF2B5EF4-FFF2-40B4-BE49-F238E27FC236}">
                  <a16:creationId xmlns:a16="http://schemas.microsoft.com/office/drawing/2014/main" id="{4E2E866C-1C81-4F83-9ECD-A95CA4EACA2B}"/>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3" name="Oval 72">
              <a:extLst>
                <a:ext uri="{FF2B5EF4-FFF2-40B4-BE49-F238E27FC236}">
                  <a16:creationId xmlns:a16="http://schemas.microsoft.com/office/drawing/2014/main" id="{7996A0E6-0698-4B03-9301-CE77ECF355A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Oval 73">
              <a:extLst>
                <a:ext uri="{FF2B5EF4-FFF2-40B4-BE49-F238E27FC236}">
                  <a16:creationId xmlns:a16="http://schemas.microsoft.com/office/drawing/2014/main" id="{423C7B6A-0681-4B1A-8B44-A11B7439F952}"/>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75" name="Oval 74">
              <a:extLst>
                <a:ext uri="{FF2B5EF4-FFF2-40B4-BE49-F238E27FC236}">
                  <a16:creationId xmlns:a16="http://schemas.microsoft.com/office/drawing/2014/main" id="{803A0765-3ED3-4F89-85B1-D7729A7C40F7}"/>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76" name="Circle: Hollow 75">
              <a:extLst>
                <a:ext uri="{FF2B5EF4-FFF2-40B4-BE49-F238E27FC236}">
                  <a16:creationId xmlns:a16="http://schemas.microsoft.com/office/drawing/2014/main" id="{4BCE93E5-A965-4373-99A7-D17DF7539F9E}"/>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7" name="Oval 76">
              <a:extLst>
                <a:ext uri="{FF2B5EF4-FFF2-40B4-BE49-F238E27FC236}">
                  <a16:creationId xmlns:a16="http://schemas.microsoft.com/office/drawing/2014/main" id="{46ADE4A9-D827-4A98-8D6C-8838DD08CD93}"/>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8" name="Oval 77">
              <a:extLst>
                <a:ext uri="{FF2B5EF4-FFF2-40B4-BE49-F238E27FC236}">
                  <a16:creationId xmlns:a16="http://schemas.microsoft.com/office/drawing/2014/main" id="{228C071F-6C60-4B47-AA35-8E40B99D3DD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9" name="Oval 78">
              <a:extLst>
                <a:ext uri="{FF2B5EF4-FFF2-40B4-BE49-F238E27FC236}">
                  <a16:creationId xmlns:a16="http://schemas.microsoft.com/office/drawing/2014/main" id="{AE973C1F-8FED-4F0C-AB64-EA956CDA9DE9}"/>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Oval 79">
              <a:extLst>
                <a:ext uri="{FF2B5EF4-FFF2-40B4-BE49-F238E27FC236}">
                  <a16:creationId xmlns:a16="http://schemas.microsoft.com/office/drawing/2014/main" id="{09376B53-447E-4EF8-B52E-4BAC39A6B323}"/>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1" name="Oval 80">
              <a:extLst>
                <a:ext uri="{FF2B5EF4-FFF2-40B4-BE49-F238E27FC236}">
                  <a16:creationId xmlns:a16="http://schemas.microsoft.com/office/drawing/2014/main" id="{B065B701-D4C7-4A88-BE4B-2A3128D06C0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2" name="Oval 81">
              <a:extLst>
                <a:ext uri="{FF2B5EF4-FFF2-40B4-BE49-F238E27FC236}">
                  <a16:creationId xmlns:a16="http://schemas.microsoft.com/office/drawing/2014/main" id="{A36E6813-6D61-4890-9A81-5F309F685111}"/>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3" name="Oval 82">
              <a:extLst>
                <a:ext uri="{FF2B5EF4-FFF2-40B4-BE49-F238E27FC236}">
                  <a16:creationId xmlns:a16="http://schemas.microsoft.com/office/drawing/2014/main" id="{DE020CDE-4B09-4F5E-965A-53B2846D55F7}"/>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4" name="Oval 83">
              <a:extLst>
                <a:ext uri="{FF2B5EF4-FFF2-40B4-BE49-F238E27FC236}">
                  <a16:creationId xmlns:a16="http://schemas.microsoft.com/office/drawing/2014/main" id="{AC2F2CC2-5529-420E-802F-F4E925BBF730}"/>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Oval 84">
              <a:extLst>
                <a:ext uri="{FF2B5EF4-FFF2-40B4-BE49-F238E27FC236}">
                  <a16:creationId xmlns:a16="http://schemas.microsoft.com/office/drawing/2014/main" id="{D047EC91-B556-402C-8514-70DE3338CA61}"/>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6" name="Oval 85">
              <a:extLst>
                <a:ext uri="{FF2B5EF4-FFF2-40B4-BE49-F238E27FC236}">
                  <a16:creationId xmlns:a16="http://schemas.microsoft.com/office/drawing/2014/main" id="{15431908-CAEB-487F-AAC8-7EC86ABB2E3C}"/>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7" name="Oval 86">
              <a:extLst>
                <a:ext uri="{FF2B5EF4-FFF2-40B4-BE49-F238E27FC236}">
                  <a16:creationId xmlns:a16="http://schemas.microsoft.com/office/drawing/2014/main" id="{70A783DD-81C3-4A0A-AF3A-82D891E405DE}"/>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Oval 87">
              <a:extLst>
                <a:ext uri="{FF2B5EF4-FFF2-40B4-BE49-F238E27FC236}">
                  <a16:creationId xmlns:a16="http://schemas.microsoft.com/office/drawing/2014/main" id="{C99D31CB-3C8B-41E7-BEAB-81EE3C479C3C}"/>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9" name="Oval 88">
              <a:extLst>
                <a:ext uri="{FF2B5EF4-FFF2-40B4-BE49-F238E27FC236}">
                  <a16:creationId xmlns:a16="http://schemas.microsoft.com/office/drawing/2014/main" id="{276720E2-78DC-4F58-AC67-70B501421FD9}"/>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Oval 89">
              <a:extLst>
                <a:ext uri="{FF2B5EF4-FFF2-40B4-BE49-F238E27FC236}">
                  <a16:creationId xmlns:a16="http://schemas.microsoft.com/office/drawing/2014/main" id="{B9BA35A9-CF0D-4E0B-8E3E-D997CD01A67F}"/>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Oval 90">
              <a:extLst>
                <a:ext uri="{FF2B5EF4-FFF2-40B4-BE49-F238E27FC236}">
                  <a16:creationId xmlns:a16="http://schemas.microsoft.com/office/drawing/2014/main" id="{97D30F32-E6BF-43FD-9053-EA8B82534CFC}"/>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92" name="Oval 91">
              <a:extLst>
                <a:ext uri="{FF2B5EF4-FFF2-40B4-BE49-F238E27FC236}">
                  <a16:creationId xmlns:a16="http://schemas.microsoft.com/office/drawing/2014/main" id="{30B965F0-94B9-4302-9215-DAA8D3A5EAC6}"/>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Oval 92">
              <a:extLst>
                <a:ext uri="{FF2B5EF4-FFF2-40B4-BE49-F238E27FC236}">
                  <a16:creationId xmlns:a16="http://schemas.microsoft.com/office/drawing/2014/main" id="{F8466486-0388-4E26-9B61-AA12DAF8B5D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Oval 93">
              <a:extLst>
                <a:ext uri="{FF2B5EF4-FFF2-40B4-BE49-F238E27FC236}">
                  <a16:creationId xmlns:a16="http://schemas.microsoft.com/office/drawing/2014/main" id="{074545C7-8F3A-400E-9FCA-2159F6E29D9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5" name="Oval 94">
              <a:extLst>
                <a:ext uri="{FF2B5EF4-FFF2-40B4-BE49-F238E27FC236}">
                  <a16:creationId xmlns:a16="http://schemas.microsoft.com/office/drawing/2014/main" id="{78A0446C-8D9E-46A9-8102-8C9F30E180A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6" name="Oval 95">
              <a:extLst>
                <a:ext uri="{FF2B5EF4-FFF2-40B4-BE49-F238E27FC236}">
                  <a16:creationId xmlns:a16="http://schemas.microsoft.com/office/drawing/2014/main" id="{0344245E-D03F-402E-A49C-6BABDD17938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7" name="Oval 96">
              <a:extLst>
                <a:ext uri="{FF2B5EF4-FFF2-40B4-BE49-F238E27FC236}">
                  <a16:creationId xmlns:a16="http://schemas.microsoft.com/office/drawing/2014/main" id="{D1892B87-E656-4A94-A5A5-6EE6E6A31A3D}"/>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8" name="Oval 97">
              <a:extLst>
                <a:ext uri="{FF2B5EF4-FFF2-40B4-BE49-F238E27FC236}">
                  <a16:creationId xmlns:a16="http://schemas.microsoft.com/office/drawing/2014/main" id="{84217071-D59E-46B8-BFFA-AAA62024AB28}"/>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9" name="Oval 98">
              <a:extLst>
                <a:ext uri="{FF2B5EF4-FFF2-40B4-BE49-F238E27FC236}">
                  <a16:creationId xmlns:a16="http://schemas.microsoft.com/office/drawing/2014/main" id="{80CD4824-C6A6-452F-9229-1A42C666E901}"/>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0" name="Oval 99">
              <a:extLst>
                <a:ext uri="{FF2B5EF4-FFF2-40B4-BE49-F238E27FC236}">
                  <a16:creationId xmlns:a16="http://schemas.microsoft.com/office/drawing/2014/main" id="{EE7198A6-F01F-42DB-B952-E057D3A469C3}"/>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1" name="Oval 100">
              <a:extLst>
                <a:ext uri="{FF2B5EF4-FFF2-40B4-BE49-F238E27FC236}">
                  <a16:creationId xmlns:a16="http://schemas.microsoft.com/office/drawing/2014/main" id="{0493F4AA-9AB1-4B4D-95AE-AC30D0DF1869}"/>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2" name="Circle: Hollow 101">
              <a:extLst>
                <a:ext uri="{FF2B5EF4-FFF2-40B4-BE49-F238E27FC236}">
                  <a16:creationId xmlns:a16="http://schemas.microsoft.com/office/drawing/2014/main" id="{6EF5040E-82CE-4E1D-877E-3CBD1AD8497E}"/>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03" name="Circle: Hollow 102">
              <a:extLst>
                <a:ext uri="{FF2B5EF4-FFF2-40B4-BE49-F238E27FC236}">
                  <a16:creationId xmlns:a16="http://schemas.microsoft.com/office/drawing/2014/main" id="{09BEAE28-30DA-4255-9EFE-16682F31BAC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3038165-0438-73A8-F1A0-0E342602C067}"/>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F2935CE9-AA3E-11B8-798D-C5DCEB1DFC1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EAFDF85C-F564-A249-787B-46CD452AFF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B12B0D51-AE3D-61C4-8607-59DED64EBC20}"/>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9CBB847D-44CD-CF03-7FED-BCBE86034D0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718904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BJECTIVES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5" name="Oval 4">
            <a:extLst>
              <a:ext uri="{FF2B5EF4-FFF2-40B4-BE49-F238E27FC236}">
                <a16:creationId xmlns:a16="http://schemas.microsoft.com/office/drawing/2014/main" id="{11CD8C8C-63CF-4943-89D3-B5BCA0F16C98}"/>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ircle: Hollow 5">
            <a:extLst>
              <a:ext uri="{FF2B5EF4-FFF2-40B4-BE49-F238E27FC236}">
                <a16:creationId xmlns:a16="http://schemas.microsoft.com/office/drawing/2014/main" id="{77FBCCC6-2047-406D-B33D-317698474BB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7" name="Circle: Hollow 6">
            <a:extLst>
              <a:ext uri="{FF2B5EF4-FFF2-40B4-BE49-F238E27FC236}">
                <a16:creationId xmlns:a16="http://schemas.microsoft.com/office/drawing/2014/main" id="{12D982B6-0289-439C-A43F-7FF6B3744AD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 name="Picture Placeholder 2">
            <a:extLst>
              <a:ext uri="{FF2B5EF4-FFF2-40B4-BE49-F238E27FC236}">
                <a16:creationId xmlns:a16="http://schemas.microsoft.com/office/drawing/2014/main" id="{FEB8FEBE-B61F-4667-AB15-3E01E9EFF369}"/>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a:p>
        </p:txBody>
      </p:sp>
      <p:sp>
        <p:nvSpPr>
          <p:cNvPr id="16" name="Text Placeholder 5">
            <a:extLst>
              <a:ext uri="{FF2B5EF4-FFF2-40B4-BE49-F238E27FC236}">
                <a16:creationId xmlns:a16="http://schemas.microsoft.com/office/drawing/2014/main" id="{543B43F8-9408-4DE6-ADB1-0F55458A9A22}"/>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17" name="Text Placeholder 5">
            <a:extLst>
              <a:ext uri="{FF2B5EF4-FFF2-40B4-BE49-F238E27FC236}">
                <a16:creationId xmlns:a16="http://schemas.microsoft.com/office/drawing/2014/main" id="{94772D6F-1FC4-4476-A44A-08C36474BFAC}"/>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18" name="Text Placeholder 5">
            <a:extLst>
              <a:ext uri="{FF2B5EF4-FFF2-40B4-BE49-F238E27FC236}">
                <a16:creationId xmlns:a16="http://schemas.microsoft.com/office/drawing/2014/main" id="{512809E2-9DA5-447E-955E-34FB70D95FD4}"/>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19" name="Text Placeholder 5">
            <a:extLst>
              <a:ext uri="{FF2B5EF4-FFF2-40B4-BE49-F238E27FC236}">
                <a16:creationId xmlns:a16="http://schemas.microsoft.com/office/drawing/2014/main" id="{B7A3AD81-254E-4701-8E10-052F58E25B96}"/>
              </a:ext>
            </a:extLst>
          </p:cNvPr>
          <p:cNvSpPr>
            <a:spLocks noGrp="1"/>
          </p:cNvSpPr>
          <p:nvPr>
            <p:ph type="body" sz="quarter" idx="14"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21" name="TextBox 20">
            <a:extLst>
              <a:ext uri="{FF2B5EF4-FFF2-40B4-BE49-F238E27FC236}">
                <a16:creationId xmlns:a16="http://schemas.microsoft.com/office/drawing/2014/main" id="{90FA61AE-BB1F-440B-B9B9-EEF289294A6B}"/>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n end of this module you will be able to:</a:t>
            </a:r>
          </a:p>
        </p:txBody>
      </p:sp>
      <p:sp>
        <p:nvSpPr>
          <p:cNvPr id="22" name="TextBox 21">
            <a:extLst>
              <a:ext uri="{FF2B5EF4-FFF2-40B4-BE49-F238E27FC236}">
                <a16:creationId xmlns:a16="http://schemas.microsoft.com/office/drawing/2014/main" id="{F50D9795-89E4-442A-AB07-DB9973DB0C26}"/>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ECC7613B-FCDB-C1C5-942B-9B823B2BD8A3}"/>
              </a:ext>
            </a:extLst>
          </p:cNvPr>
          <p:cNvSpPr>
            <a:spLocks noGrp="1"/>
          </p:cNvSpPr>
          <p:nvPr>
            <p:ph type="sldNum" sz="quarter" idx="15"/>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454208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ANSITION PAGE AF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1">
            <a:extLst>
              <a:ext uri="{FF2B5EF4-FFF2-40B4-BE49-F238E27FC236}">
                <a16:creationId xmlns:a16="http://schemas.microsoft.com/office/drawing/2014/main" id="{1B34DE5A-A590-4BC7-967E-C466D1AB843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812"/>
          <a:stretch/>
        </p:blipFill>
        <p:spPr>
          <a:xfrm>
            <a:off x="-2077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62A05C37-1393-EFB2-2DE8-8907EA8A8F07}"/>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2583725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ANSITION PAGE AF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20" name="Picture Placeholder 5">
            <a:extLst>
              <a:ext uri="{FF2B5EF4-FFF2-40B4-BE49-F238E27FC236}">
                <a16:creationId xmlns:a16="http://schemas.microsoft.com/office/drawing/2014/main" id="{AA316804-1769-4051-BE67-10D3164B8EC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61528" y="-294381"/>
            <a:ext cx="4732119" cy="4732119"/>
          </a:xfrm>
          <a:prstGeom prst="ellipse">
            <a:avLst/>
          </a:prstGeom>
          <a:ln>
            <a:noFill/>
          </a:ln>
        </p:spPr>
      </p:pic>
      <p:sp>
        <p:nvSpPr>
          <p:cNvPr id="2" name="Slide Number Placeholder 1">
            <a:extLst>
              <a:ext uri="{FF2B5EF4-FFF2-40B4-BE49-F238E27FC236}">
                <a16:creationId xmlns:a16="http://schemas.microsoft.com/office/drawing/2014/main" id="{763B3AC8-572F-DD8E-4989-E004E9C9AF13}"/>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8101859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ANSITION PAGE AF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6" name="Picture Placeholder 16">
            <a:extLst>
              <a:ext uri="{FF2B5EF4-FFF2-40B4-BE49-F238E27FC236}">
                <a16:creationId xmlns:a16="http://schemas.microsoft.com/office/drawing/2014/main" id="{9B943C83-6792-468C-8670-C042E6FB9F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58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FC7C85A9-6611-8C2E-0353-D4096A739C07}"/>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218068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ANSITION PAGE AF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1">
            <a:extLst>
              <a:ext uri="{FF2B5EF4-FFF2-40B4-BE49-F238E27FC236}">
                <a16:creationId xmlns:a16="http://schemas.microsoft.com/office/drawing/2014/main" id="{43FDDFA6-320F-420A-AC82-CAC91807A75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69"/>
          <a:stretch/>
        </p:blipFill>
        <p:spPr>
          <a:xfrm>
            <a:off x="-271254" y="-294381"/>
            <a:ext cx="4732119" cy="4732119"/>
          </a:xfrm>
          <a:prstGeom prst="ellipse">
            <a:avLst/>
          </a:prstGeom>
        </p:spPr>
      </p:pic>
      <p:sp>
        <p:nvSpPr>
          <p:cNvPr id="2" name="Slide Number Placeholder 1">
            <a:extLst>
              <a:ext uri="{FF2B5EF4-FFF2-40B4-BE49-F238E27FC236}">
                <a16:creationId xmlns:a16="http://schemas.microsoft.com/office/drawing/2014/main" id="{B6E5E44C-51A2-B85E-EE77-D7FD3E129559}"/>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381309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ANSITION PAGE AS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3" descr="A picture containing person&#10;&#10;Description automatically generated">
            <a:extLst>
              <a:ext uri="{FF2B5EF4-FFF2-40B4-BE49-F238E27FC236}">
                <a16:creationId xmlns:a16="http://schemas.microsoft.com/office/drawing/2014/main" id="{7F16EA21-8B87-469D-A3E8-3FEA074A8D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01"/>
          <a:stretch/>
        </p:blipFill>
        <p:spPr>
          <a:xfrm>
            <a:off x="-251886" y="-279239"/>
            <a:ext cx="4732119" cy="4732119"/>
          </a:xfrm>
          <a:prstGeom prst="ellipse">
            <a:avLst/>
          </a:prstGeom>
          <a:ln>
            <a:noFill/>
          </a:ln>
        </p:spPr>
      </p:pic>
      <p:sp>
        <p:nvSpPr>
          <p:cNvPr id="2" name="Slide Number Placeholder 1">
            <a:extLst>
              <a:ext uri="{FF2B5EF4-FFF2-40B4-BE49-F238E27FC236}">
                <a16:creationId xmlns:a16="http://schemas.microsoft.com/office/drawing/2014/main" id="{4A37C555-20EF-9DA1-F5E0-8A49259324D5}"/>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696552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ANSITION PAGE AS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8" descr="A picture containing person, indoor&#10;&#10;Description automatically generated">
            <a:extLst>
              <a:ext uri="{FF2B5EF4-FFF2-40B4-BE49-F238E27FC236}">
                <a16:creationId xmlns:a16="http://schemas.microsoft.com/office/drawing/2014/main" id="{610F21B1-7101-45F6-AA38-752ED285B1B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5379" y="-284856"/>
            <a:ext cx="4732119" cy="4732119"/>
          </a:xfrm>
          <a:prstGeom prst="ellipse">
            <a:avLst/>
          </a:prstGeom>
          <a:ln>
            <a:noFill/>
          </a:ln>
        </p:spPr>
      </p:pic>
      <p:sp>
        <p:nvSpPr>
          <p:cNvPr id="2" name="Slide Number Placeholder 1">
            <a:extLst>
              <a:ext uri="{FF2B5EF4-FFF2-40B4-BE49-F238E27FC236}">
                <a16:creationId xmlns:a16="http://schemas.microsoft.com/office/drawing/2014/main" id="{543AEF6C-FB23-E0CE-1433-F8A9D40D6C08}"/>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9683458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ANSITION PAGE AS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3" descr="A person sitting on the ground&#10;&#10;Description automatically generated with medium confidence">
            <a:extLst>
              <a:ext uri="{FF2B5EF4-FFF2-40B4-BE49-F238E27FC236}">
                <a16:creationId xmlns:a16="http://schemas.microsoft.com/office/drawing/2014/main" id="{673F2E3E-A5AB-4A07-87D1-393D6A6DFFB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1878" y="-284856"/>
            <a:ext cx="4732119" cy="4732119"/>
          </a:xfrm>
          <a:prstGeom prst="ellipse">
            <a:avLst/>
          </a:prstGeom>
          <a:ln>
            <a:noFill/>
          </a:ln>
        </p:spPr>
      </p:pic>
      <p:sp>
        <p:nvSpPr>
          <p:cNvPr id="2" name="Slide Number Placeholder 1">
            <a:extLst>
              <a:ext uri="{FF2B5EF4-FFF2-40B4-BE49-F238E27FC236}">
                <a16:creationId xmlns:a16="http://schemas.microsoft.com/office/drawing/2014/main" id="{38227D32-825C-4E9A-3014-82A0AC2195A9}"/>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8755165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ANSITION PAGE AS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18" descr="A couple of women sitting on a bench&#10;&#10;Description automatically generated with low confidence">
            <a:extLst>
              <a:ext uri="{FF2B5EF4-FFF2-40B4-BE49-F238E27FC236}">
                <a16:creationId xmlns:a16="http://schemas.microsoft.com/office/drawing/2014/main" id="{491A181A-B572-41EC-BE10-4C83F9B8295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70560" y="-311270"/>
            <a:ext cx="4754940" cy="4765898"/>
          </a:xfrm>
          <a:prstGeom prst="ellipse">
            <a:avLst/>
          </a:prstGeom>
          <a:ln>
            <a:noFill/>
          </a:ln>
        </p:spPr>
      </p:pic>
      <p:sp>
        <p:nvSpPr>
          <p:cNvPr id="2" name="Slide Number Placeholder 1">
            <a:extLst>
              <a:ext uri="{FF2B5EF4-FFF2-40B4-BE49-F238E27FC236}">
                <a16:creationId xmlns:a16="http://schemas.microsoft.com/office/drawing/2014/main" id="{4389CB87-57C9-6972-9882-0A0B3F18FD2E}"/>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109719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ANSITION PAGE SA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42" descr="A person stands next to a horse&#10;&#10;Description automatically generated with medium confidence">
            <a:extLst>
              <a:ext uri="{FF2B5EF4-FFF2-40B4-BE49-F238E27FC236}">
                <a16:creationId xmlns:a16="http://schemas.microsoft.com/office/drawing/2014/main" id="{FC6D0D84-00D1-4A8B-9C12-4DD55673B0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5B3357F2-E850-A943-ADA7-721249C3A7AA}"/>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3716109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ASHPAGE AF 3">
    <p:bg>
      <p:bgPr>
        <a:solidFill>
          <a:schemeClr val="bg1"/>
        </a:solidFill>
        <a:effectLst/>
      </p:bgPr>
    </p:bg>
    <p:spTree>
      <p:nvGrpSpPr>
        <p:cNvPr id="1" name=""/>
        <p:cNvGrpSpPr/>
        <p:nvPr/>
      </p:nvGrpSpPr>
      <p:grpSpPr>
        <a:xfrm>
          <a:off x="0" y="0"/>
          <a:ext cx="0" cy="0"/>
          <a:chOff x="0" y="0"/>
          <a:chExt cx="0" cy="0"/>
        </a:xfrm>
      </p:grpSpPr>
      <p:pic>
        <p:nvPicPr>
          <p:cNvPr id="55" name="Picture 4">
            <a:extLst>
              <a:ext uri="{FF2B5EF4-FFF2-40B4-BE49-F238E27FC236}">
                <a16:creationId xmlns:a16="http://schemas.microsoft.com/office/drawing/2014/main" id="{96BE2E8B-4F21-448D-9169-41CC70C477AE}"/>
              </a:ext>
            </a:extLst>
          </p:cNvPr>
          <p:cNvPicPr>
            <a:picLocks noChangeAspect="1" noChangeArrowheads="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flipH="1">
            <a:off x="-868" y="0"/>
            <a:ext cx="81376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E163D1F5-C5BA-4FF9-8B26-A03AA203D292}"/>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90" b="99792" l="32727" r="70579">
                        <a14:foregroundMark x1="55455" y1="50780" x2="50661" y2="51821"/>
                        <a14:foregroundMark x1="67360" y1="47043" x2="67646" y2="54115"/>
                        <a14:foregroundMark x1="66281" y1="20291" x2="67356" y2="46928"/>
                        <a14:foregroundMark x1="68043" y1="65556" x2="66116" y2="72633"/>
                        <a14:foregroundMark x1="66116" y1="72633" x2="63554" y2="71072"/>
                        <a14:foregroundMark x1="59091" y1="59729" x2="50909" y2="99792"/>
                        <a14:foregroundMark x1="64463" y1="19459" x2="60496" y2="29553"/>
                        <a14:foregroundMark x1="66446" y1="20499" x2="70165" y2="26015"/>
                        <a14:foregroundMark x1="70165" y1="26015" x2="70430" y2="29683"/>
                        <a14:foregroundMark x1="64215" y1="19979" x2="52810" y2="23413"/>
                        <a14:foregroundMark x1="60331" y1="18835" x2="50992" y2="24246"/>
                        <a14:foregroundMark x1="59008" y1="19043" x2="52397" y2="23205"/>
                        <a14:foregroundMark x1="52397" y1="23205" x2="51736" y2="24142"/>
                        <a14:foregroundMark x1="43554" y1="68574" x2="36033" y2="94381"/>
                        <a14:foregroundMark x1="36033" y1="94381" x2="32727" y2="98855"/>
                        <a14:foregroundMark x1="38017" y1="69823" x2="33802" y2="92612"/>
                        <a14:foregroundMark x1="46694" y1="70968" x2="43140" y2="77419"/>
                        <a14:foregroundMark x1="64711" y1="51405" x2="65289" y2="59105"/>
                        <a14:foregroundMark x1="65537" y1="67430" x2="58264" y2="99584"/>
                        <a14:foregroundMark x1="70579" y1="26223" x2="67603" y2="21956"/>
                        <a14:foregroundMark x1="70248" y1="25702" x2="67603" y2="21748"/>
                        <a14:foregroundMark x1="51322" y1="24454" x2="47686" y2="30385"/>
                        <a14:foregroundMark x1="47686" y1="30385" x2="47686" y2="30385"/>
                        <a14:foregroundMark x1="50992" y1="24454" x2="47934" y2="29969"/>
                        <a14:backgroundMark x1="71240" y1="29865" x2="68760" y2="47242"/>
                        <a14:backgroundMark x1="68760" y1="47242" x2="69256" y2="54943"/>
                        <a14:backgroundMark x1="69256" y1="54943" x2="68760" y2="57024"/>
                        <a14:backgroundMark x1="67851" y1="54110" x2="68017" y2="65557"/>
                      </a14:backgroundRemoval>
                    </a14:imgEffect>
                  </a14:imgLayer>
                </a14:imgProps>
              </a:ext>
              <a:ext uri="{28A0092B-C50C-407E-A947-70E740481C1C}">
                <a14:useLocalDpi xmlns:a14="http://schemas.microsoft.com/office/drawing/2010/main" val="0"/>
              </a:ext>
            </a:extLst>
          </a:blip>
          <a:srcRect l="29877" r="28609"/>
          <a:stretch/>
        </p:blipFill>
        <p:spPr bwMode="auto">
          <a:xfrm flipH="1">
            <a:off x="1850719" y="-10556"/>
            <a:ext cx="3693747" cy="6893955"/>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2" name="Group 11">
            <a:extLst>
              <a:ext uri="{FF2B5EF4-FFF2-40B4-BE49-F238E27FC236}">
                <a16:creationId xmlns:a16="http://schemas.microsoft.com/office/drawing/2014/main" id="{C04323F2-1941-4F49-92D8-0EDDF6EDBD9C}"/>
              </a:ext>
            </a:extLst>
          </p:cNvPr>
          <p:cNvGrpSpPr/>
          <p:nvPr userDrawn="1"/>
        </p:nvGrpSpPr>
        <p:grpSpPr>
          <a:xfrm>
            <a:off x="6073832" y="268219"/>
            <a:ext cx="5836821" cy="5088756"/>
            <a:chOff x="5836362" y="68074"/>
            <a:chExt cx="6083274" cy="5355263"/>
          </a:xfrm>
        </p:grpSpPr>
        <p:sp>
          <p:nvSpPr>
            <p:cNvPr id="13" name="Oval 12">
              <a:extLst>
                <a:ext uri="{FF2B5EF4-FFF2-40B4-BE49-F238E27FC236}">
                  <a16:creationId xmlns:a16="http://schemas.microsoft.com/office/drawing/2014/main" id="{B837035D-5F63-4BD9-9B64-04B7DB5F7F38}"/>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E3DE8605-1CD3-4052-B0DA-BEFA96AA1595}"/>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Circle: Hollow 14">
              <a:extLst>
                <a:ext uri="{FF2B5EF4-FFF2-40B4-BE49-F238E27FC236}">
                  <a16:creationId xmlns:a16="http://schemas.microsoft.com/office/drawing/2014/main" id="{FED25739-38B4-4110-9C53-DA5DCDE3B9FD}"/>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01F20A66-6C99-4916-8816-F167107725A1}"/>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74C7EDC0-EBCE-4E3A-9D16-C443CA7804BD}"/>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Oval 17">
              <a:extLst>
                <a:ext uri="{FF2B5EF4-FFF2-40B4-BE49-F238E27FC236}">
                  <a16:creationId xmlns:a16="http://schemas.microsoft.com/office/drawing/2014/main" id="{B977C1F6-60A7-4B1B-9B31-DDE34B0B2F0B}"/>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B510FB1A-C3B2-4CF5-8B2C-BBFB32FCFA0D}"/>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Oval 19">
              <a:extLst>
                <a:ext uri="{FF2B5EF4-FFF2-40B4-BE49-F238E27FC236}">
                  <a16:creationId xmlns:a16="http://schemas.microsoft.com/office/drawing/2014/main" id="{3766107F-7B2A-4F22-A601-9C16F5B2469C}"/>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A64F1F5-B827-4EA5-8933-E799B8E47C2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126DA8CC-2FAC-4DF8-971C-2E34B29CB181}"/>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Oval 22">
              <a:extLst>
                <a:ext uri="{FF2B5EF4-FFF2-40B4-BE49-F238E27FC236}">
                  <a16:creationId xmlns:a16="http://schemas.microsoft.com/office/drawing/2014/main" id="{6323C646-80F1-4602-AF8A-86A0673FCE7D}"/>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D443EF24-E818-47BF-B8CF-6146C4DE698D}"/>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B8496846-3226-4DAD-A0D5-7D8EF98CA348}"/>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6" name="Oval 25">
              <a:extLst>
                <a:ext uri="{FF2B5EF4-FFF2-40B4-BE49-F238E27FC236}">
                  <a16:creationId xmlns:a16="http://schemas.microsoft.com/office/drawing/2014/main" id="{B9C359CD-B1AF-454E-9332-15F4BC629672}"/>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Circle: Hollow 26">
              <a:extLst>
                <a:ext uri="{FF2B5EF4-FFF2-40B4-BE49-F238E27FC236}">
                  <a16:creationId xmlns:a16="http://schemas.microsoft.com/office/drawing/2014/main" id="{880AD3B9-F91A-486B-86B6-CAD8EAA4304F}"/>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8" name="Oval 27">
              <a:extLst>
                <a:ext uri="{FF2B5EF4-FFF2-40B4-BE49-F238E27FC236}">
                  <a16:creationId xmlns:a16="http://schemas.microsoft.com/office/drawing/2014/main" id="{D8A7D310-3144-4D73-89B9-504A0D7A255E}"/>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7AE2BFF1-642E-4793-93E5-D89D6AED52EC}"/>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DBD37EEF-F4C0-4062-9F31-DDF51B0450FF}"/>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DC866BA0-A3D8-4195-919B-8111B82EA0FB}"/>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DE8B01D4-3BE6-404D-865E-34AC3CBED0AB}"/>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092553F8-8827-418A-8D3A-834DCD9F2203}"/>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5BE81F47-731F-428A-8ACC-50DA1EDD0FCD}"/>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60E52D23-97A4-4275-8E22-44A3E492E0F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425FB51-11B9-4DD8-958D-FBFB22BFC0B5}"/>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7" name="Oval 36">
              <a:extLst>
                <a:ext uri="{FF2B5EF4-FFF2-40B4-BE49-F238E27FC236}">
                  <a16:creationId xmlns:a16="http://schemas.microsoft.com/office/drawing/2014/main" id="{57E26436-FC86-482A-A140-A3786CAC5AE6}"/>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E28B611-2B90-4E9E-A804-9B799DAE96E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8BD5ED52-6BF2-4195-A6B2-DE80F38E0929}"/>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6C2FEF86-6B99-44C8-BE8D-CE15F48C8E2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E0382D9A-89BF-4090-86B5-346755BC8F4C}"/>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B31359F2-D4BA-4B7F-8F88-47D020CC3E1C}"/>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3" name="Oval 42">
              <a:extLst>
                <a:ext uri="{FF2B5EF4-FFF2-40B4-BE49-F238E27FC236}">
                  <a16:creationId xmlns:a16="http://schemas.microsoft.com/office/drawing/2014/main" id="{86FB5339-6178-417C-BAFD-AB5606A35AA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64A6D78A-A307-44EE-B5BD-F305D59F32DF}"/>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12192DCC-0F5E-4193-A87B-74A0D413E47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BB951C-002A-4272-A19E-7C8E6330513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3547E64B-4174-4EE0-9189-D6362E41C78B}"/>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CC08A981-C9F9-435A-903D-E7619E0950B5}"/>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D2AD646A-2E19-4579-9412-3377DD2A4A6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DFDA3CB9-8E7E-4580-AE92-5A5EA2DD1D2A}"/>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22ECC116-6CBE-46B5-997C-AFD811BFE2AF}"/>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80833912-207A-4794-82C3-302AD41A3C2C}"/>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Circle: Hollow 52">
              <a:extLst>
                <a:ext uri="{FF2B5EF4-FFF2-40B4-BE49-F238E27FC236}">
                  <a16:creationId xmlns:a16="http://schemas.microsoft.com/office/drawing/2014/main" id="{35A6ABC5-1F91-4587-9A4D-12549EBDC0C6}"/>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4" name="Circle: Hollow 53">
              <a:extLst>
                <a:ext uri="{FF2B5EF4-FFF2-40B4-BE49-F238E27FC236}">
                  <a16:creationId xmlns:a16="http://schemas.microsoft.com/office/drawing/2014/main" id="{5BCD3E4E-188B-4795-BFEF-2E97AE3CF88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90FE3D1-621F-BBFA-34D2-096BB707DE6C}"/>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76B38E03-B62B-A8F5-D6E2-461D4548D48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40CC0AA4-F374-7C25-AC23-8E8A8D48AD2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BE0C1BC-6FC6-7D63-215B-9427C95DDA56}"/>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D42C050A-D94D-1EB8-EE3F-32867D840EE7}"/>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430525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ANSITION PAGE SA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7">
            <a:extLst>
              <a:ext uri="{FF2B5EF4-FFF2-40B4-BE49-F238E27FC236}">
                <a16:creationId xmlns:a16="http://schemas.microsoft.com/office/drawing/2014/main" id="{5A6E0A02-9478-4350-A40E-F036FFA0C8C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1878" y="-290391"/>
            <a:ext cx="4732119" cy="4732119"/>
          </a:xfrm>
          <a:prstGeom prst="ellipse">
            <a:avLst/>
          </a:prstGeom>
          <a:ln>
            <a:noFill/>
          </a:ln>
        </p:spPr>
      </p:pic>
      <p:sp>
        <p:nvSpPr>
          <p:cNvPr id="2" name="Slide Number Placeholder 1">
            <a:extLst>
              <a:ext uri="{FF2B5EF4-FFF2-40B4-BE49-F238E27FC236}">
                <a16:creationId xmlns:a16="http://schemas.microsoft.com/office/drawing/2014/main" id="{179AA169-12A8-C627-6A55-6D9E2C9F7B78}"/>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5410740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ANSITION PAGE SA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7" name="Picture Placeholder 37" descr="A person wearing a garment&#10;&#10;Description automatically generated with low confidence">
            <a:extLst>
              <a:ext uri="{FF2B5EF4-FFF2-40B4-BE49-F238E27FC236}">
                <a16:creationId xmlns:a16="http://schemas.microsoft.com/office/drawing/2014/main" id="{6B3B84B2-BAE5-4993-9656-323A4F0FD2B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242" y="-281681"/>
            <a:ext cx="4732119" cy="4732119"/>
          </a:xfrm>
          <a:prstGeom prst="ellipse">
            <a:avLst/>
          </a:prstGeom>
          <a:ln>
            <a:noFill/>
          </a:ln>
        </p:spPr>
      </p:pic>
      <p:sp>
        <p:nvSpPr>
          <p:cNvPr id="2" name="Slide Number Placeholder 1">
            <a:extLst>
              <a:ext uri="{FF2B5EF4-FFF2-40B4-BE49-F238E27FC236}">
                <a16:creationId xmlns:a16="http://schemas.microsoft.com/office/drawing/2014/main" id="{7EA46A8F-5633-1E27-6C2A-C660D8693CE0}"/>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392210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ANSITION PAGE SA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32" descr="A picture containing person, trouser&#10;&#10;Description automatically generated">
            <a:extLst>
              <a:ext uri="{FF2B5EF4-FFF2-40B4-BE49-F238E27FC236}">
                <a16:creationId xmlns:a16="http://schemas.microsoft.com/office/drawing/2014/main" id="{AAE251DD-C72A-4799-894C-96C6CF0B181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69"/>
          <a:stretch/>
        </p:blipFill>
        <p:spPr>
          <a:xfrm>
            <a:off x="-233154" y="-282556"/>
            <a:ext cx="4732119" cy="4732119"/>
          </a:xfrm>
          <a:prstGeom prst="ellipse">
            <a:avLst/>
          </a:prstGeom>
          <a:ln>
            <a:noFill/>
          </a:ln>
        </p:spPr>
      </p:pic>
      <p:sp>
        <p:nvSpPr>
          <p:cNvPr id="2" name="Slide Number Placeholder 1">
            <a:extLst>
              <a:ext uri="{FF2B5EF4-FFF2-40B4-BE49-F238E27FC236}">
                <a16:creationId xmlns:a16="http://schemas.microsoft.com/office/drawing/2014/main" id="{A844CB99-67E2-71F8-CFED-E085EA7E1207}"/>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096743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ANSITION PAGE W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95">
            <a:extLst>
              <a:ext uri="{FF2B5EF4-FFF2-40B4-BE49-F238E27FC236}">
                <a16:creationId xmlns:a16="http://schemas.microsoft.com/office/drawing/2014/main" id="{1C2CC4FD-AA5C-43E0-8F84-43747160738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4495" y="-294381"/>
            <a:ext cx="4732119" cy="4732119"/>
          </a:xfrm>
          <a:prstGeom prst="ellipse">
            <a:avLst/>
          </a:prstGeom>
          <a:ln>
            <a:noFill/>
          </a:ln>
        </p:spPr>
      </p:pic>
      <p:sp>
        <p:nvSpPr>
          <p:cNvPr id="2" name="Slide Number Placeholder 1">
            <a:extLst>
              <a:ext uri="{FF2B5EF4-FFF2-40B4-BE49-F238E27FC236}">
                <a16:creationId xmlns:a16="http://schemas.microsoft.com/office/drawing/2014/main" id="{5B1FF57E-8442-B004-9DD3-22E4F94E2D75}"/>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0781160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ANSITION PAGE W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09">
            <a:extLst>
              <a:ext uri="{FF2B5EF4-FFF2-40B4-BE49-F238E27FC236}">
                <a16:creationId xmlns:a16="http://schemas.microsoft.com/office/drawing/2014/main" id="{5E0BD08A-6854-4CC0-B24F-F237076F3CB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85032612-1A06-8A1A-4D4E-26EB7E347760}"/>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8900499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ANSITION PAGE WE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90">
            <a:extLst>
              <a:ext uri="{FF2B5EF4-FFF2-40B4-BE49-F238E27FC236}">
                <a16:creationId xmlns:a16="http://schemas.microsoft.com/office/drawing/2014/main" id="{B8DDE6F2-9F9B-41F2-B2A3-6DC9E6FA128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8554" y="-294381"/>
            <a:ext cx="4732119" cy="4732119"/>
          </a:xfrm>
          <a:prstGeom prst="ellipse">
            <a:avLst/>
          </a:prstGeom>
          <a:ln>
            <a:noFill/>
          </a:ln>
        </p:spPr>
      </p:pic>
    </p:spTree>
    <p:extLst>
      <p:ext uri="{BB962C8B-B14F-4D97-AF65-F5344CB8AC3E}">
        <p14:creationId xmlns:p14="http://schemas.microsoft.com/office/powerpoint/2010/main" val="1138127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ANSITION PAGE WE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04">
            <a:extLst>
              <a:ext uri="{FF2B5EF4-FFF2-40B4-BE49-F238E27FC236}">
                <a16:creationId xmlns:a16="http://schemas.microsoft.com/office/drawing/2014/main" id="{78B21EA6-36D0-435A-9C96-0841F750FB0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61528" y="-294381"/>
            <a:ext cx="4732119" cy="4732119"/>
          </a:xfrm>
          <a:prstGeom prst="ellipse">
            <a:avLst/>
          </a:prstGeom>
          <a:ln>
            <a:noFill/>
          </a:ln>
        </p:spPr>
      </p:pic>
      <p:sp>
        <p:nvSpPr>
          <p:cNvPr id="2" name="Slide Number Placeholder 1">
            <a:extLst>
              <a:ext uri="{FF2B5EF4-FFF2-40B4-BE49-F238E27FC236}">
                <a16:creationId xmlns:a16="http://schemas.microsoft.com/office/drawing/2014/main" id="{8ABD4B80-095A-77E8-E6E4-468642421346}"/>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096902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ANSITION PAGE OTHER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5" descr="A picture containing text, clipart&#10;&#10;Description automatically generated">
            <a:extLst>
              <a:ext uri="{FF2B5EF4-FFF2-40B4-BE49-F238E27FC236}">
                <a16:creationId xmlns:a16="http://schemas.microsoft.com/office/drawing/2014/main" id="{D50915DD-5EE5-49E3-8AC8-C442BCE6948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48828" y="-299292"/>
            <a:ext cx="4732119" cy="4732119"/>
          </a:xfrm>
          <a:prstGeom prst="ellipse">
            <a:avLst/>
          </a:prstGeom>
          <a:ln>
            <a:noFill/>
          </a:ln>
        </p:spPr>
      </p:pic>
      <p:sp>
        <p:nvSpPr>
          <p:cNvPr id="2" name="Slide Number Placeholder 1">
            <a:extLst>
              <a:ext uri="{FF2B5EF4-FFF2-40B4-BE49-F238E27FC236}">
                <a16:creationId xmlns:a16="http://schemas.microsoft.com/office/drawing/2014/main" id="{BC81EE51-AE65-E3A9-255C-616766CCC14C}"/>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077917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ANSITION PAGE OTHER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7">
            <a:extLst>
              <a:ext uri="{FF2B5EF4-FFF2-40B4-BE49-F238E27FC236}">
                <a16:creationId xmlns:a16="http://schemas.microsoft.com/office/drawing/2014/main" id="{4CDEE063-EA26-468A-AFDA-44D797D69B8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6214" y="-288031"/>
            <a:ext cx="4732119" cy="4732119"/>
          </a:xfrm>
          <a:prstGeom prst="ellipse">
            <a:avLst/>
          </a:prstGeom>
          <a:ln>
            <a:noFill/>
          </a:ln>
        </p:spPr>
      </p:pic>
      <p:sp>
        <p:nvSpPr>
          <p:cNvPr id="2" name="Slide Number Placeholder 1">
            <a:extLst>
              <a:ext uri="{FF2B5EF4-FFF2-40B4-BE49-F238E27FC236}">
                <a16:creationId xmlns:a16="http://schemas.microsoft.com/office/drawing/2014/main" id="{1A82689F-A612-39B4-71FF-B1F66AC883B2}"/>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3280221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PAGE OTHER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3">
            <a:extLst>
              <a:ext uri="{FF2B5EF4-FFF2-40B4-BE49-F238E27FC236}">
                <a16:creationId xmlns:a16="http://schemas.microsoft.com/office/drawing/2014/main" id="{77E1F9EE-A329-483E-8900-3AECA7CA9EFE}"/>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458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89EDC8C4-6160-5F1B-7B56-4D35C542C3C2}"/>
              </a:ext>
            </a:extLst>
          </p:cNvPr>
          <p:cNvSpPr>
            <a:spLocks noGrp="1"/>
          </p:cNvSpPr>
          <p:nvPr>
            <p:ph type="sldNum" sz="quarter" idx="10"/>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0090408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ASHPAGE AS 1">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79C00F28-B628-41DD-8234-BA7516F71C92}"/>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14658"/>
          <a:stretch/>
        </p:blipFill>
        <p:spPr bwMode="auto">
          <a:xfrm>
            <a:off x="0" y="0"/>
            <a:ext cx="69813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1" name="Group 10">
            <a:extLst>
              <a:ext uri="{FF2B5EF4-FFF2-40B4-BE49-F238E27FC236}">
                <a16:creationId xmlns:a16="http://schemas.microsoft.com/office/drawing/2014/main" id="{F2F3D023-E23A-4E03-84C8-69F0966B73B0}"/>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2B8030D7-615E-4293-82C1-DE20FE117CE4}"/>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CCD9D61-099D-45E0-99F3-8F5C167D7FE7}"/>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659F2B10-1E06-40C6-9E26-2720F4D5D99C}"/>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7BBF4286-8421-44F4-AEC4-5077219CFB77}"/>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EFED5782-2621-4512-8A45-DE47726246A5}"/>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FF583398-3426-42D1-815C-310F9ABFE4B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0BE6341-C3C8-4F53-963D-F29934F22E3D}"/>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619D7686-861A-4A07-84AC-8988F0884144}"/>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08D9A70A-59D0-46D3-9D08-3634FD7F1703}"/>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Circle: Hollow 20">
              <a:extLst>
                <a:ext uri="{FF2B5EF4-FFF2-40B4-BE49-F238E27FC236}">
                  <a16:creationId xmlns:a16="http://schemas.microsoft.com/office/drawing/2014/main" id="{84BDDEE6-33B5-4006-8C17-BDB035DD01AD}"/>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Oval 21">
              <a:extLst>
                <a:ext uri="{FF2B5EF4-FFF2-40B4-BE49-F238E27FC236}">
                  <a16:creationId xmlns:a16="http://schemas.microsoft.com/office/drawing/2014/main" id="{F358D785-F1B4-4DD5-94EB-3235FA7F6875}"/>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B08EE7F6-076F-4D93-AD7D-A61B733B7E0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BEFA4C30-62D4-477A-A6DB-02750BA0A1F8}"/>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CA33E31B-D6EC-4253-8C29-24EE33940D2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6" name="Circle: Hollow 25">
              <a:extLst>
                <a:ext uri="{FF2B5EF4-FFF2-40B4-BE49-F238E27FC236}">
                  <a16:creationId xmlns:a16="http://schemas.microsoft.com/office/drawing/2014/main" id="{D738AF29-7576-4D48-8709-6DA0929506FC}"/>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733DC169-90EC-4BF0-B7DD-90E78BF8F2B8}"/>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3148F100-A352-4849-B456-2937885CCB9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40FF2B-C7CD-4698-9697-56EE132D71DD}"/>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062772A6-E0A1-4381-BAA9-90C0927A948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7156ED00-4FAC-431E-AC3B-E27166E85A3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6347B9F0-2CDB-42E7-9878-B83E2E90BF23}"/>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E949F0D-B1E8-4F39-AF33-CE1331BCAAB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5C686CBE-7764-4AC6-B24B-45A23BFD3EE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C1C87805-910C-413A-95AE-5BFF2867812D}"/>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6" name="Oval 35">
              <a:extLst>
                <a:ext uri="{FF2B5EF4-FFF2-40B4-BE49-F238E27FC236}">
                  <a16:creationId xmlns:a16="http://schemas.microsoft.com/office/drawing/2014/main" id="{A44C93A3-C08C-484B-A04F-47F7D5DF5A1F}"/>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E0F4B9F9-B2D4-44BA-B93F-BDB266263FF3}"/>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0441CCC0-63A0-4E6C-A75C-E7C19ACD7D82}"/>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3FDE5369-3494-44C3-AD82-73F7F55558A2}"/>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1675B0AF-342F-4567-AF36-EE408405D012}"/>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B70EB615-D6DD-4F90-BB25-13D4183CB92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2" name="Oval 41">
              <a:extLst>
                <a:ext uri="{FF2B5EF4-FFF2-40B4-BE49-F238E27FC236}">
                  <a16:creationId xmlns:a16="http://schemas.microsoft.com/office/drawing/2014/main" id="{10635603-06E9-47E7-A4B4-9338D68F6BD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92FDEA22-6AB8-4599-8BF8-939E903AD06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DF884DE7-D691-4DC8-840F-9AC707FABEA0}"/>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D9B360CA-B082-4DB8-B91D-7F27636A9410}"/>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C21C763-24B4-43A8-8E34-E475A34FE82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9FC415E4-06EB-4B1F-98A5-3EAC7E701239}"/>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7C7325B8-C8BD-4107-A7B6-DB468D0781E1}"/>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42CFF533-113C-454B-BA3B-D668F5DB6C42}"/>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229653B6-1785-4649-8F48-97DE2B192C99}"/>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CC889914-18C6-4DE7-8EC2-F62CB29F2059}"/>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Circle: Hollow 51">
              <a:extLst>
                <a:ext uri="{FF2B5EF4-FFF2-40B4-BE49-F238E27FC236}">
                  <a16:creationId xmlns:a16="http://schemas.microsoft.com/office/drawing/2014/main" id="{AFAB4A5F-1A4C-4048-9DC6-697664180D6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3" name="Circle: Hollow 52">
              <a:extLst>
                <a:ext uri="{FF2B5EF4-FFF2-40B4-BE49-F238E27FC236}">
                  <a16:creationId xmlns:a16="http://schemas.microsoft.com/office/drawing/2014/main" id="{70CA7F9B-063D-46CC-86B7-A13247F54CF1}"/>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8B13B4B9-A851-147A-54E6-3C33EBA18A7D}"/>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9ABD256D-7027-5018-265D-38D448C3EF49}"/>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4368E6FB-09C2-6528-6DB7-784A7B9961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FD6023BF-5F5F-685F-862C-AF978B14E96D}"/>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B2404E52-9CE7-CCAF-504E-B57507119335}"/>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9037249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PAGE 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Picture 13" descr="Shape, circle&#10;&#10;Description automatically generated">
            <a:extLst>
              <a:ext uri="{FF2B5EF4-FFF2-40B4-BE49-F238E27FC236}">
                <a16:creationId xmlns:a16="http://schemas.microsoft.com/office/drawing/2014/main" id="{6FD64248-CA7C-43DF-8841-6CBDF67BBA6D}"/>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3" name="Oval 12">
            <a:extLst>
              <a:ext uri="{FF2B5EF4-FFF2-40B4-BE49-F238E27FC236}">
                <a16:creationId xmlns:a16="http://schemas.microsoft.com/office/drawing/2014/main" id="{937CCF2B-AE90-4BCD-9D59-A4373A3ACC6D}"/>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chemeClr val="tx1">
              <a:lumMod val="50000"/>
              <a:lumOff val="5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chemeClr val="tx1">
                  <a:lumMod val="50000"/>
                  <a:lumOff val="50000"/>
                  <a:alpha val="69000"/>
                </a:schemeClr>
              </a:gs>
              <a:gs pos="63000">
                <a:schemeClr val="bg1">
                  <a:lumMod val="65000"/>
                  <a:alpha val="4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14" descr="Shape, circle&#10;&#10;Description automatically generated">
            <a:extLst>
              <a:ext uri="{FF2B5EF4-FFF2-40B4-BE49-F238E27FC236}">
                <a16:creationId xmlns:a16="http://schemas.microsoft.com/office/drawing/2014/main" id="{FE98D32E-5A0E-479F-82DC-AD357EC1263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sp>
        <p:nvSpPr>
          <p:cNvPr id="16" name="Title Placeholder 1">
            <a:extLst>
              <a:ext uri="{FF2B5EF4-FFF2-40B4-BE49-F238E27FC236}">
                <a16:creationId xmlns:a16="http://schemas.microsoft.com/office/drawing/2014/main" id="{A553C083-E55A-4094-8B49-FECA80473FB9}"/>
              </a:ext>
            </a:extLst>
          </p:cNvPr>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12" name="Picture Placeholder 2">
            <a:extLst>
              <a:ext uri="{FF2B5EF4-FFF2-40B4-BE49-F238E27FC236}">
                <a16:creationId xmlns:a16="http://schemas.microsoft.com/office/drawing/2014/main" id="{DE30343A-8BB0-43F9-922D-7031CC16589B}"/>
              </a:ext>
            </a:extLst>
          </p:cNvPr>
          <p:cNvSpPr>
            <a:spLocks noGrp="1" noChangeAspect="1"/>
          </p:cNvSpPr>
          <p:nvPr>
            <p:ph type="pic" sz="quarter" idx="10"/>
          </p:nvPr>
        </p:nvSpPr>
        <p:spPr>
          <a:xfrm>
            <a:off x="-271254" y="-294381"/>
            <a:ext cx="4732119" cy="4732119"/>
          </a:xfrm>
          <a:prstGeom prst="ellipse">
            <a:avLst/>
          </a:prstGeom>
          <a:ln>
            <a:noFill/>
          </a:ln>
        </p:spPr>
        <p:txBody>
          <a:bodyPr/>
          <a:lstStyle/>
          <a:p>
            <a:endParaRPr lang="nl-NL"/>
          </a:p>
        </p:txBody>
      </p:sp>
      <p:sp>
        <p:nvSpPr>
          <p:cNvPr id="2" name="Slide Number Placeholder 1">
            <a:extLst>
              <a:ext uri="{FF2B5EF4-FFF2-40B4-BE49-F238E27FC236}">
                <a16:creationId xmlns:a16="http://schemas.microsoft.com/office/drawing/2014/main" id="{75A469A9-677E-5467-5BE0-C68A78E0C518}"/>
              </a:ext>
            </a:extLst>
          </p:cNvPr>
          <p:cNvSpPr>
            <a:spLocks noGrp="1"/>
          </p:cNvSpPr>
          <p:nvPr>
            <p:ph type="sldNum" sz="quarter" idx="11"/>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576235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PAGE NO IM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170B96ED-B0F5-471C-B4A4-CA83B23B03F9}"/>
              </a:ext>
            </a:extLst>
          </p:cNvPr>
          <p:cNvSpPr>
            <a:spLocks noChangeAspect="1"/>
          </p:cNvSpPr>
          <p:nvPr userDrawn="1"/>
        </p:nvSpPr>
        <p:spPr>
          <a:xfrm>
            <a:off x="9034255" y="4793407"/>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F71F4BA5-F1C8-464D-A35E-C600990EED94}"/>
              </a:ext>
            </a:extLst>
          </p:cNvPr>
          <p:cNvSpPr>
            <a:spLocks noChangeAspect="1"/>
          </p:cNvSpPr>
          <p:nvPr userDrawn="1"/>
        </p:nvSpPr>
        <p:spPr>
          <a:xfrm>
            <a:off x="9447509" y="5325585"/>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CD65B6EF-40AB-0848-A310-F92F5854F7E7}"/>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5B73281A-F13D-4ACD-E808-457C8297DE5D}"/>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22" name="Oval 21">
            <a:extLst>
              <a:ext uri="{FF2B5EF4-FFF2-40B4-BE49-F238E27FC236}">
                <a16:creationId xmlns:a16="http://schemas.microsoft.com/office/drawing/2014/main" id="{5F0F26E2-6984-497F-8C8D-A3D6BEA48D1F}"/>
              </a:ext>
            </a:extLst>
          </p:cNvPr>
          <p:cNvSpPr>
            <a:spLocks noChangeAspect="1"/>
          </p:cNvSpPr>
          <p:nvPr userDrawn="1"/>
        </p:nvSpPr>
        <p:spPr>
          <a:xfrm>
            <a:off x="9805968" y="3941728"/>
            <a:ext cx="1397331" cy="1383857"/>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Circle: Hollow 22">
            <a:extLst>
              <a:ext uri="{FF2B5EF4-FFF2-40B4-BE49-F238E27FC236}">
                <a16:creationId xmlns:a16="http://schemas.microsoft.com/office/drawing/2014/main" id="{5A7EBCD1-E692-4D90-ACF4-D8EE45581A6E}"/>
              </a:ext>
            </a:extLst>
          </p:cNvPr>
          <p:cNvSpPr>
            <a:spLocks noChangeAspect="1"/>
          </p:cNvSpPr>
          <p:nvPr userDrawn="1"/>
        </p:nvSpPr>
        <p:spPr>
          <a:xfrm>
            <a:off x="9464100" y="3596277"/>
            <a:ext cx="2081068" cy="2061001"/>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 name="Slide Number Placeholder 3">
            <a:extLst>
              <a:ext uri="{FF2B5EF4-FFF2-40B4-BE49-F238E27FC236}">
                <a16:creationId xmlns:a16="http://schemas.microsoft.com/office/drawing/2014/main" id="{7796DB0E-5033-A021-3355-EC551D90F17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973917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NO IMAG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7" name="Oval 66">
            <a:extLst>
              <a:ext uri="{FF2B5EF4-FFF2-40B4-BE49-F238E27FC236}">
                <a16:creationId xmlns:a16="http://schemas.microsoft.com/office/drawing/2014/main" id="{614CB323-962F-4480-9FA2-E59FDE853C95}"/>
              </a:ext>
            </a:extLst>
          </p:cNvPr>
          <p:cNvSpPr>
            <a:spLocks noChangeAspect="1"/>
          </p:cNvSpPr>
          <p:nvPr userDrawn="1"/>
        </p:nvSpPr>
        <p:spPr>
          <a:xfrm>
            <a:off x="9034255" y="4793407"/>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51863DD1-61D7-A8C0-4743-A27221093B2B}"/>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6C592046-1FC5-5131-BA70-2DFA7B9AC80E}"/>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65" name="Oval 64">
            <a:extLst>
              <a:ext uri="{FF2B5EF4-FFF2-40B4-BE49-F238E27FC236}">
                <a16:creationId xmlns:a16="http://schemas.microsoft.com/office/drawing/2014/main" id="{F4B32B3B-A5F6-4E29-BB11-FAD5271B3BCA}"/>
              </a:ext>
            </a:extLst>
          </p:cNvPr>
          <p:cNvSpPr>
            <a:spLocks noChangeAspect="1"/>
          </p:cNvSpPr>
          <p:nvPr userDrawn="1"/>
        </p:nvSpPr>
        <p:spPr>
          <a:xfrm>
            <a:off x="9805968" y="3941728"/>
            <a:ext cx="1397331" cy="1383857"/>
          </a:xfrm>
          <a:prstGeom prst="ellipse">
            <a:avLst/>
          </a:prstGeom>
          <a:gradFill flip="none" rotWithShape="1">
            <a:gsLst>
              <a:gs pos="0">
                <a:schemeClr val="accent4">
                  <a:lumMod val="75000"/>
                  <a:alpha val="96000"/>
                </a:schemeClr>
              </a:gs>
              <a:gs pos="65000">
                <a:srgbClr val="FFC000">
                  <a:alpha val="6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Circle: Hollow 65">
            <a:extLst>
              <a:ext uri="{FF2B5EF4-FFF2-40B4-BE49-F238E27FC236}">
                <a16:creationId xmlns:a16="http://schemas.microsoft.com/office/drawing/2014/main" id="{841022AF-BF8D-4CD1-B085-8A7B4547899A}"/>
              </a:ext>
            </a:extLst>
          </p:cNvPr>
          <p:cNvSpPr>
            <a:spLocks noChangeAspect="1"/>
          </p:cNvSpPr>
          <p:nvPr userDrawn="1"/>
        </p:nvSpPr>
        <p:spPr>
          <a:xfrm>
            <a:off x="9464100" y="3596277"/>
            <a:ext cx="2081068" cy="2061001"/>
          </a:xfrm>
          <a:prstGeom prst="donut">
            <a:avLst>
              <a:gd name="adj" fmla="val 5617"/>
            </a:avLst>
          </a:prstGeom>
          <a:gradFill flip="none" rotWithShape="1">
            <a:gsLst>
              <a:gs pos="0">
                <a:schemeClr val="accent4">
                  <a:lumMod val="75000"/>
                  <a:alpha val="96000"/>
                </a:schemeClr>
              </a:gs>
              <a:gs pos="65000">
                <a:srgbClr val="FFC000">
                  <a:alpha val="6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9" name="Oval 68">
            <a:extLst>
              <a:ext uri="{FF2B5EF4-FFF2-40B4-BE49-F238E27FC236}">
                <a16:creationId xmlns:a16="http://schemas.microsoft.com/office/drawing/2014/main" id="{93271725-8EAA-4D8B-8B10-F2593AB294D3}"/>
              </a:ext>
            </a:extLst>
          </p:cNvPr>
          <p:cNvSpPr>
            <a:spLocks noChangeAspect="1"/>
          </p:cNvSpPr>
          <p:nvPr userDrawn="1"/>
        </p:nvSpPr>
        <p:spPr>
          <a:xfrm>
            <a:off x="9447509" y="5325585"/>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Slide Number Placeholder 3">
            <a:extLst>
              <a:ext uri="{FF2B5EF4-FFF2-40B4-BE49-F238E27FC236}">
                <a16:creationId xmlns:a16="http://schemas.microsoft.com/office/drawing/2014/main" id="{34E2E0F7-1F83-56D5-1363-FF71EE0C308D}"/>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0701873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NO IMAG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7" name="Oval 66">
            <a:extLst>
              <a:ext uri="{FF2B5EF4-FFF2-40B4-BE49-F238E27FC236}">
                <a16:creationId xmlns:a16="http://schemas.microsoft.com/office/drawing/2014/main" id="{614CB323-962F-4480-9FA2-E59FDE853C95}"/>
              </a:ext>
            </a:extLst>
          </p:cNvPr>
          <p:cNvSpPr>
            <a:spLocks noChangeAspect="1"/>
          </p:cNvSpPr>
          <p:nvPr userDrawn="1"/>
        </p:nvSpPr>
        <p:spPr>
          <a:xfrm>
            <a:off x="9034255" y="4793407"/>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Oval 68">
            <a:extLst>
              <a:ext uri="{FF2B5EF4-FFF2-40B4-BE49-F238E27FC236}">
                <a16:creationId xmlns:a16="http://schemas.microsoft.com/office/drawing/2014/main" id="{93271725-8EAA-4D8B-8B10-F2593AB294D3}"/>
              </a:ext>
            </a:extLst>
          </p:cNvPr>
          <p:cNvSpPr>
            <a:spLocks noChangeAspect="1"/>
          </p:cNvSpPr>
          <p:nvPr userDrawn="1"/>
        </p:nvSpPr>
        <p:spPr>
          <a:xfrm>
            <a:off x="9447509" y="5325585"/>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9E2A2B44-FAD8-7DA3-921C-BD17059B3701}"/>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21836720-11CF-F9C7-44CF-67C9EA64D7A2}"/>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66" name="Circle: Hollow 65">
            <a:extLst>
              <a:ext uri="{FF2B5EF4-FFF2-40B4-BE49-F238E27FC236}">
                <a16:creationId xmlns:a16="http://schemas.microsoft.com/office/drawing/2014/main" id="{841022AF-BF8D-4CD1-B085-8A7B4547899A}"/>
              </a:ext>
            </a:extLst>
          </p:cNvPr>
          <p:cNvSpPr>
            <a:spLocks noChangeAspect="1"/>
          </p:cNvSpPr>
          <p:nvPr userDrawn="1"/>
        </p:nvSpPr>
        <p:spPr>
          <a:xfrm>
            <a:off x="9464100" y="3596277"/>
            <a:ext cx="2081068" cy="2061001"/>
          </a:xfrm>
          <a:prstGeom prst="donut">
            <a:avLst>
              <a:gd name="adj" fmla="val 5617"/>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5" name="Oval 64">
            <a:extLst>
              <a:ext uri="{FF2B5EF4-FFF2-40B4-BE49-F238E27FC236}">
                <a16:creationId xmlns:a16="http://schemas.microsoft.com/office/drawing/2014/main" id="{F4B32B3B-A5F6-4E29-BB11-FAD5271B3BCA}"/>
              </a:ext>
            </a:extLst>
          </p:cNvPr>
          <p:cNvSpPr>
            <a:spLocks noChangeAspect="1"/>
          </p:cNvSpPr>
          <p:nvPr userDrawn="1"/>
        </p:nvSpPr>
        <p:spPr>
          <a:xfrm>
            <a:off x="9805968" y="3941728"/>
            <a:ext cx="1397331" cy="1383857"/>
          </a:xfrm>
          <a:prstGeom prst="ellipse">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Slide Number Placeholder 3">
            <a:extLst>
              <a:ext uri="{FF2B5EF4-FFF2-40B4-BE49-F238E27FC236}">
                <a16:creationId xmlns:a16="http://schemas.microsoft.com/office/drawing/2014/main" id="{743F93CA-E00B-8FDF-7B26-8FF97B021E0B}"/>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5971552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AGE NO IMAG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F23EE819-298B-AB96-D0A8-4B5E2EDD87B4}"/>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68FD83D-7EB3-CE01-5C5D-03D74525651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441526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PAGE NO IMAGE 5">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00AEEF"/>
              </a:gs>
              <a:gs pos="65000">
                <a:srgbClr val="00AEEF">
                  <a:alpha val="3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00AEEF"/>
              </a:gs>
              <a:gs pos="65000">
                <a:srgbClr val="00AEEF">
                  <a:alpha val="3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0E3E2DAF-B75F-91AC-D361-C5B4456BAE3A}"/>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8E21889-CD1C-FCFE-53B0-1857A233B24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4893064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AGE NO IMAGE 6">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FFC000"/>
              </a:gs>
              <a:gs pos="65000">
                <a:srgbClr val="FFC000">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FFC000"/>
              </a:gs>
              <a:gs pos="65000">
                <a:srgbClr val="FFC000">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F4E573A9-92F0-47BF-FAD3-C6B8BCFBF43D}"/>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1D1FDD8-C5B5-E7F6-5043-F4A5ACC2553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157892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AGE GRAPHIC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9B4A9C0C-8128-4278-8F17-3A28A9BE9B5A}"/>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 name="Text Placeholder 4">
            <a:extLst>
              <a:ext uri="{FF2B5EF4-FFF2-40B4-BE49-F238E27FC236}">
                <a16:creationId xmlns:a16="http://schemas.microsoft.com/office/drawing/2014/main" id="{135530B2-AADB-260C-FAB6-B18813118DA1}"/>
              </a:ext>
            </a:extLst>
          </p:cNvPr>
          <p:cNvSpPr>
            <a:spLocks noGrp="1"/>
          </p:cNvSpPr>
          <p:nvPr>
            <p:ph type="body" sz="quarter" idx="11"/>
          </p:nvPr>
        </p:nvSpPr>
        <p:spPr>
          <a:xfrm>
            <a:off x="320220" y="1222391"/>
            <a:ext cx="727817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70E4CBC-00C3-AD8A-D786-99A020F09F3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2015815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PAGE GRAPHIC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234D69AB-77EA-4E18-ABFF-964A352897F8}"/>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2" name="Text Placeholder 4">
            <a:extLst>
              <a:ext uri="{FF2B5EF4-FFF2-40B4-BE49-F238E27FC236}">
                <a16:creationId xmlns:a16="http://schemas.microsoft.com/office/drawing/2014/main" id="{5CFE35A0-167E-F21C-2784-BE2EEEAEE4D9}"/>
              </a:ext>
            </a:extLst>
          </p:cNvPr>
          <p:cNvSpPr>
            <a:spLocks noGrp="1"/>
          </p:cNvSpPr>
          <p:nvPr>
            <p:ph type="body" sz="quarter" idx="11"/>
          </p:nvPr>
        </p:nvSpPr>
        <p:spPr>
          <a:xfrm>
            <a:off x="4819649" y="1205999"/>
            <a:ext cx="7093565"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7431634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AGE GRAPHIC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4F2927DF-669F-41E1-8C02-02B43DD1EC37}"/>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rot="5400000">
            <a:off x="8091044" y="460008"/>
            <a:ext cx="4583981" cy="3617930"/>
          </a:xfrm>
          <a:prstGeom prst="rect">
            <a:avLst/>
          </a:prstGeom>
          <a:effectLst>
            <a:outerShdw blurRad="50800" dist="38100" dir="8100000" algn="tr" rotWithShape="0">
              <a:prstClr val="black">
                <a:alpha val="40000"/>
              </a:prstClr>
            </a:outerShdw>
          </a:effectLst>
        </p:spPr>
      </p:pic>
      <p:sp>
        <p:nvSpPr>
          <p:cNvPr id="2" name="Text Placeholder 4">
            <a:extLst>
              <a:ext uri="{FF2B5EF4-FFF2-40B4-BE49-F238E27FC236}">
                <a16:creationId xmlns:a16="http://schemas.microsoft.com/office/drawing/2014/main" id="{80BA1CF4-6F67-7108-9841-5C30CDC7C1C4}"/>
              </a:ext>
            </a:extLst>
          </p:cNvPr>
          <p:cNvSpPr>
            <a:spLocks noGrp="1"/>
          </p:cNvSpPr>
          <p:nvPr>
            <p:ph type="body" sz="quarter" idx="11"/>
          </p:nvPr>
        </p:nvSpPr>
        <p:spPr>
          <a:xfrm>
            <a:off x="320220" y="1222391"/>
            <a:ext cx="851898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CA93417-60DF-0547-2784-01DABD4A274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36865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ASHPAGE AS 2">
    <p:bg>
      <p:bgPr>
        <a:solidFill>
          <a:schemeClr val="bg1"/>
        </a:solidFill>
        <a:effectLst/>
      </p:bgPr>
    </p:bg>
    <p:spTree>
      <p:nvGrpSpPr>
        <p:cNvPr id="1" name=""/>
        <p:cNvGrpSpPr/>
        <p:nvPr/>
      </p:nvGrpSpPr>
      <p:grpSpPr>
        <a:xfrm>
          <a:off x="0" y="0"/>
          <a:ext cx="0" cy="0"/>
          <a:chOff x="0" y="0"/>
          <a:chExt cx="0" cy="0"/>
        </a:xfrm>
      </p:grpSpPr>
      <p:pic>
        <p:nvPicPr>
          <p:cNvPr id="1034" name="Picture 10">
            <a:extLst>
              <a:ext uri="{FF2B5EF4-FFF2-40B4-BE49-F238E27FC236}">
                <a16:creationId xmlns:a16="http://schemas.microsoft.com/office/drawing/2014/main" id="{BD4363AE-205A-4819-9F31-7F4B9BB04420}"/>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4560"/>
          <a:stretch/>
        </p:blipFill>
        <p:spPr bwMode="auto">
          <a:xfrm>
            <a:off x="238" y="2606"/>
            <a:ext cx="721037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3" name="Group 12">
            <a:extLst>
              <a:ext uri="{FF2B5EF4-FFF2-40B4-BE49-F238E27FC236}">
                <a16:creationId xmlns:a16="http://schemas.microsoft.com/office/drawing/2014/main" id="{FB80E6E3-50FB-46B8-AD03-DCC07D5F9F1E}"/>
              </a:ext>
            </a:extLst>
          </p:cNvPr>
          <p:cNvGrpSpPr/>
          <p:nvPr userDrawn="1"/>
        </p:nvGrpSpPr>
        <p:grpSpPr>
          <a:xfrm>
            <a:off x="6073832" y="268219"/>
            <a:ext cx="5836821" cy="5088756"/>
            <a:chOff x="5836362" y="68074"/>
            <a:chExt cx="6083274" cy="5355263"/>
          </a:xfrm>
        </p:grpSpPr>
        <p:sp>
          <p:nvSpPr>
            <p:cNvPr id="14" name="Oval 13">
              <a:extLst>
                <a:ext uri="{FF2B5EF4-FFF2-40B4-BE49-F238E27FC236}">
                  <a16:creationId xmlns:a16="http://schemas.microsoft.com/office/drawing/2014/main" id="{39936F59-E4A5-4FB7-BC48-4531FE3120EE}"/>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8CAC6223-6465-4B73-B076-732D2542BB93}"/>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Circle: Hollow 15">
              <a:extLst>
                <a:ext uri="{FF2B5EF4-FFF2-40B4-BE49-F238E27FC236}">
                  <a16:creationId xmlns:a16="http://schemas.microsoft.com/office/drawing/2014/main" id="{09A64407-DA70-426D-9DE9-893E4C2C55B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Oval 16">
              <a:extLst>
                <a:ext uri="{FF2B5EF4-FFF2-40B4-BE49-F238E27FC236}">
                  <a16:creationId xmlns:a16="http://schemas.microsoft.com/office/drawing/2014/main" id="{B9135213-2D18-4C9E-8A5A-E3648F009848}"/>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301C6B40-0608-45DE-9D3E-CCD296A86806}"/>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EE097154-4802-4956-94E4-73576F79F337}"/>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E07354F7-D16A-41DB-8123-E6BD66208B8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30E5860-2384-4691-A332-336D14B77538}"/>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Circle: Hollow 21">
              <a:extLst>
                <a:ext uri="{FF2B5EF4-FFF2-40B4-BE49-F238E27FC236}">
                  <a16:creationId xmlns:a16="http://schemas.microsoft.com/office/drawing/2014/main" id="{78D9816B-4A28-449A-ADA9-D558D0CB407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Circle: Hollow 22">
              <a:extLst>
                <a:ext uri="{FF2B5EF4-FFF2-40B4-BE49-F238E27FC236}">
                  <a16:creationId xmlns:a16="http://schemas.microsoft.com/office/drawing/2014/main" id="{AFD0F331-48F6-436C-9A37-F51AC87A80F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FE248FA4-8FB4-467B-BB2C-7C67EFD0B1C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AD3EC2D2-43E2-401F-852E-D345530D7C9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3B85795-F1B1-4510-9132-9D4DFBF2E855}"/>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Oval 26">
              <a:extLst>
                <a:ext uri="{FF2B5EF4-FFF2-40B4-BE49-F238E27FC236}">
                  <a16:creationId xmlns:a16="http://schemas.microsoft.com/office/drawing/2014/main" id="{D8C9B3BC-CA00-4779-B18A-D72E3C812C12}"/>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Circle: Hollow 27">
              <a:extLst>
                <a:ext uri="{FF2B5EF4-FFF2-40B4-BE49-F238E27FC236}">
                  <a16:creationId xmlns:a16="http://schemas.microsoft.com/office/drawing/2014/main" id="{6BF1DDA1-7E8F-4038-AA49-AEF5F3EB2046}"/>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9" name="Oval 28">
              <a:extLst>
                <a:ext uri="{FF2B5EF4-FFF2-40B4-BE49-F238E27FC236}">
                  <a16:creationId xmlns:a16="http://schemas.microsoft.com/office/drawing/2014/main" id="{CC9C9628-975D-44E1-B4E9-B9C1E06BAD7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D7AB84A7-C46E-45A6-A3A2-8C6B3F0763AC}"/>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3FD32A33-F548-4165-B771-B22BA770B3C5}"/>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F49CFC8-0A0A-478C-AE8F-7FE9913520AF}"/>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DA36B006-A498-49BC-8B0A-B04BE0FC8E6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FEBB3FFC-F938-466A-AB4F-C64A8E768DE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A7A245F7-C427-44A3-8AA8-C01FF2D6E806}"/>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0079C50A-77F3-4841-A27A-56720E450F82}"/>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48D491-0B4D-4801-AE29-672EF1331DB6}"/>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8" name="Oval 37">
              <a:extLst>
                <a:ext uri="{FF2B5EF4-FFF2-40B4-BE49-F238E27FC236}">
                  <a16:creationId xmlns:a16="http://schemas.microsoft.com/office/drawing/2014/main" id="{8310ABB2-8829-4081-954C-060F795C620D}"/>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A1BF5D2-17DB-4295-8864-BD6F8D834B14}"/>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626B1BD-8353-473E-A336-1B2C3789D045}"/>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63F954E1-B24D-4548-ADC7-5FC3AE573949}"/>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863F5DAF-F9FC-47E9-8231-BC562926E658}"/>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CF12651-1CFD-4D64-A02D-7BDA3B137870}"/>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4" name="Oval 43">
              <a:extLst>
                <a:ext uri="{FF2B5EF4-FFF2-40B4-BE49-F238E27FC236}">
                  <a16:creationId xmlns:a16="http://schemas.microsoft.com/office/drawing/2014/main" id="{B80B87C1-F227-462F-8141-B0F5FA70BD06}"/>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D1A8BD0D-0305-4A56-9205-DC3A60093B9E}"/>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82487647-FE03-4EFA-8362-CB3F65877510}"/>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A7DB594D-AACD-4ED5-8C10-D459DE7E823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98063840-D79F-4781-9CBA-3A1EE0A309B6}"/>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29F05C63-EFD7-4553-929F-B4959C647E1A}"/>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D7EC30B2-403C-4C56-8374-3C7B667F8B17}"/>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69CA3825-947B-4D5C-A285-B4B4B4DD3190}"/>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90EC4918-17F4-4239-B224-FB846D2A2EC3}"/>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402975C8-1248-4552-8C21-C14E89D62A4F}"/>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Circle: Hollow 53">
              <a:extLst>
                <a:ext uri="{FF2B5EF4-FFF2-40B4-BE49-F238E27FC236}">
                  <a16:creationId xmlns:a16="http://schemas.microsoft.com/office/drawing/2014/main" id="{9484B860-5E7E-4B39-A421-8407DBF1A864}"/>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5" name="Circle: Hollow 54">
              <a:extLst>
                <a:ext uri="{FF2B5EF4-FFF2-40B4-BE49-F238E27FC236}">
                  <a16:creationId xmlns:a16="http://schemas.microsoft.com/office/drawing/2014/main" id="{97F2434B-BDBA-423B-B5E9-09CAE81FD81E}"/>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32997E77-9203-FAD2-F483-7023D250615E}"/>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3D90B2C4-EAF8-0367-6CF2-FA148DF4323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C87DD276-5504-3175-1BF5-05CCA42B806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28012D23-B2D1-427F-8215-4918FA2CE759}"/>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B0F5F541-C3A1-DE22-CAF3-CBBAA1BB4020}"/>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769672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2" name="Text Placeholder 4">
            <a:extLst>
              <a:ext uri="{FF2B5EF4-FFF2-40B4-BE49-F238E27FC236}">
                <a16:creationId xmlns:a16="http://schemas.microsoft.com/office/drawing/2014/main" id="{1CD8F452-A9A4-90BF-A9D1-44E01C2BF4B1}"/>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BAA6C83-10C4-BE3D-FDAC-958D5F33C8A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943944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AGE 2">
    <p:spTree>
      <p:nvGrpSpPr>
        <p:cNvPr id="1" name=""/>
        <p:cNvGrpSpPr/>
        <p:nvPr/>
      </p:nvGrpSpPr>
      <p:grpSpPr>
        <a:xfrm>
          <a:off x="0" y="0"/>
          <a:ext cx="0" cy="0"/>
          <a:chOff x="0" y="0"/>
          <a:chExt cx="0" cy="0"/>
        </a:xfrm>
      </p:grpSpPr>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2" name="Text Placeholder 4">
            <a:extLst>
              <a:ext uri="{FF2B5EF4-FFF2-40B4-BE49-F238E27FC236}">
                <a16:creationId xmlns:a16="http://schemas.microsoft.com/office/drawing/2014/main" id="{9C22D1EB-BC1E-94BA-C864-34654309C6EE}"/>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5CE2EE8-BF5E-86EE-23E9-59F0E734241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703247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PAGE IMAGE RIGHT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074" name="Picture 2">
            <a:extLst>
              <a:ext uri="{FF2B5EF4-FFF2-40B4-BE49-F238E27FC236}">
                <a16:creationId xmlns:a16="http://schemas.microsoft.com/office/drawing/2014/main" id="{F7F2160B-645D-4E1B-B845-460D16D0474A}"/>
              </a:ext>
            </a:extLst>
          </p:cNvPr>
          <p:cNvPicPr preferRelativeResize="0">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rot="1044149">
            <a:off x="8774753" y="3117530"/>
            <a:ext cx="3050745" cy="3050745"/>
          </a:xfrm>
          <a:prstGeom prst="rect">
            <a:avLst/>
          </a:prstGeom>
          <a:noFill/>
          <a:extLst>
            <a:ext uri="{909E8E84-426E-40DD-AFC4-6F175D3DCCD1}">
              <a14:hiddenFill xmlns:a14="http://schemas.microsoft.com/office/drawing/2010/main">
                <a:solidFill>
                  <a:srgbClr val="FFFFFF"/>
                </a:solidFill>
              </a14:hiddenFill>
            </a:ext>
          </a:extLst>
        </p:spPr>
      </p:pic>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B12FB3F9-D1D0-1A34-CE12-B11A86ACDB0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305AB79-4C91-2009-2F74-E00E399D0E5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800641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PAGE IMAGE RIGHT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18">
            <a:extLst>
              <a:ext uri="{FF2B5EF4-FFF2-40B4-BE49-F238E27FC236}">
                <a16:creationId xmlns:a16="http://schemas.microsoft.com/office/drawing/2014/main" id="{1B8F02F8-EEDB-4CCC-9C11-A6782DFAEA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71376"/>
            <a:ext cx="3128359" cy="3128359"/>
          </a:xfrm>
          <a:prstGeom prst="ellipse">
            <a:avLst/>
          </a:prstGeom>
          <a:ln>
            <a:noFill/>
          </a:ln>
        </p:spPr>
      </p:pic>
      <p:sp>
        <p:nvSpPr>
          <p:cNvPr id="2" name="Text Placeholder 4">
            <a:extLst>
              <a:ext uri="{FF2B5EF4-FFF2-40B4-BE49-F238E27FC236}">
                <a16:creationId xmlns:a16="http://schemas.microsoft.com/office/drawing/2014/main" id="{6B98B1F1-4889-85B1-FB39-59E2DA3DF0AE}"/>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FEA9D42-EC75-3BE7-0F4A-6FE695077D7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7864567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PAGE IMAGE RIGHT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33">
            <a:extLst>
              <a:ext uri="{FF2B5EF4-FFF2-40B4-BE49-F238E27FC236}">
                <a16:creationId xmlns:a16="http://schemas.microsoft.com/office/drawing/2014/main" id="{67022DBB-02B9-4128-AFCD-1D44975BC07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7846" y="3075746"/>
            <a:ext cx="3128359" cy="3128359"/>
          </a:xfrm>
          <a:prstGeom prst="ellipse">
            <a:avLst/>
          </a:prstGeom>
          <a:ln>
            <a:noFill/>
          </a:ln>
        </p:spPr>
      </p:pic>
      <p:sp>
        <p:nvSpPr>
          <p:cNvPr id="2" name="Text Placeholder 4">
            <a:extLst>
              <a:ext uri="{FF2B5EF4-FFF2-40B4-BE49-F238E27FC236}">
                <a16:creationId xmlns:a16="http://schemas.microsoft.com/office/drawing/2014/main" id="{DE65A6A3-F7CD-BB0C-365E-6F71F25E262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3AAC6BA-7D15-B1D0-B30D-230D6074C79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2046986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PAGE IMAGE RIGHT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Picture Placeholder 38">
            <a:extLst>
              <a:ext uri="{FF2B5EF4-FFF2-40B4-BE49-F238E27FC236}">
                <a16:creationId xmlns:a16="http://schemas.microsoft.com/office/drawing/2014/main" id="{5DFCF5F3-7711-4726-AA2B-5F73058D7D1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63046"/>
            <a:ext cx="3128359" cy="3128359"/>
          </a:xfrm>
          <a:prstGeom prst="ellipse">
            <a:avLst/>
          </a:prstGeom>
          <a:ln>
            <a:noFill/>
          </a:ln>
        </p:spPr>
      </p:pic>
      <p:sp>
        <p:nvSpPr>
          <p:cNvPr id="2" name="Text Placeholder 4">
            <a:extLst>
              <a:ext uri="{FF2B5EF4-FFF2-40B4-BE49-F238E27FC236}">
                <a16:creationId xmlns:a16="http://schemas.microsoft.com/office/drawing/2014/main" id="{E9B4775C-A0B8-C29B-11E8-E71571C2994A}"/>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62EF731-14C9-2164-DE8C-A418B9B6DC84}"/>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62326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PAGE IMAGE RIGHT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9" name="Picture Placeholder 52" descr="Two women sitting on a ledge&#10;&#10;Description automatically generated with low confidence">
            <a:extLst>
              <a:ext uri="{FF2B5EF4-FFF2-40B4-BE49-F238E27FC236}">
                <a16:creationId xmlns:a16="http://schemas.microsoft.com/office/drawing/2014/main" id="{181CDFF3-3268-4B33-AEE6-4AC936C4DDE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44856" y="3074551"/>
            <a:ext cx="3128359" cy="3139647"/>
          </a:xfrm>
          <a:prstGeom prst="ellipse">
            <a:avLst/>
          </a:prstGeom>
          <a:ln>
            <a:noFill/>
          </a:ln>
        </p:spPr>
      </p:pic>
      <p:sp>
        <p:nvSpPr>
          <p:cNvPr id="2" name="Text Placeholder 4">
            <a:extLst>
              <a:ext uri="{FF2B5EF4-FFF2-40B4-BE49-F238E27FC236}">
                <a16:creationId xmlns:a16="http://schemas.microsoft.com/office/drawing/2014/main" id="{8262C41A-9794-3772-FB7E-F4665A87AC30}"/>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F7EE876-A3FB-69E2-7433-19BDB38FE899}"/>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5961373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PAGE IMAGE RIGHT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43" descr="A picture containing person, standing&#10;&#10;Description automatically generated">
            <a:extLst>
              <a:ext uri="{FF2B5EF4-FFF2-40B4-BE49-F238E27FC236}">
                <a16:creationId xmlns:a16="http://schemas.microsoft.com/office/drawing/2014/main" id="{BA62350B-7699-46E2-AB6F-FE0A3F40300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1878" y="3075096"/>
            <a:ext cx="3128359" cy="3128359"/>
          </a:xfrm>
          <a:prstGeom prst="ellipse">
            <a:avLst/>
          </a:prstGeom>
          <a:ln>
            <a:noFill/>
          </a:ln>
        </p:spPr>
      </p:pic>
      <p:sp>
        <p:nvSpPr>
          <p:cNvPr id="2" name="Text Placeholder 4">
            <a:extLst>
              <a:ext uri="{FF2B5EF4-FFF2-40B4-BE49-F238E27FC236}">
                <a16:creationId xmlns:a16="http://schemas.microsoft.com/office/drawing/2014/main" id="{A8B2DBD2-AF8B-3926-43A0-6292CBA21CF7}"/>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392B3E6-49BA-9011-A962-89A66B4C1C0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6445149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PAGE IMAGE RIGHT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38" descr="A group of people posing for the camera&#10;&#10;Description automatically generated">
            <a:extLst>
              <a:ext uri="{FF2B5EF4-FFF2-40B4-BE49-F238E27FC236}">
                <a16:creationId xmlns:a16="http://schemas.microsoft.com/office/drawing/2014/main" id="{C6E6FF14-ED78-422E-B481-6A622439FB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0319" y="3074560"/>
            <a:ext cx="3155207" cy="3137505"/>
          </a:xfrm>
          <a:prstGeom prst="ellipse">
            <a:avLst/>
          </a:prstGeom>
          <a:ln>
            <a:noFill/>
          </a:ln>
        </p:spPr>
      </p:pic>
      <p:sp>
        <p:nvSpPr>
          <p:cNvPr id="2" name="Text Placeholder 4">
            <a:extLst>
              <a:ext uri="{FF2B5EF4-FFF2-40B4-BE49-F238E27FC236}">
                <a16:creationId xmlns:a16="http://schemas.microsoft.com/office/drawing/2014/main" id="{6713541E-7ACB-022D-159B-FE912B2C7492}"/>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D92F522-D2B9-4583-C0BA-092FE327391C}"/>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474056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AGE IMAGE RIGHT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32" descr="A picture containing person, outdoor&#10;&#10;Description automatically generated">
            <a:extLst>
              <a:ext uri="{FF2B5EF4-FFF2-40B4-BE49-F238E27FC236}">
                <a16:creationId xmlns:a16="http://schemas.microsoft.com/office/drawing/2014/main" id="{835F987A-9F04-4897-8887-BD9A3383588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8449" y="3077213"/>
            <a:ext cx="3105809" cy="3126242"/>
          </a:xfrm>
          <a:prstGeom prst="ellipse">
            <a:avLst/>
          </a:prstGeom>
          <a:ln>
            <a:noFill/>
          </a:ln>
        </p:spPr>
      </p:pic>
      <p:sp>
        <p:nvSpPr>
          <p:cNvPr id="2" name="Text Placeholder 4">
            <a:extLst>
              <a:ext uri="{FF2B5EF4-FFF2-40B4-BE49-F238E27FC236}">
                <a16:creationId xmlns:a16="http://schemas.microsoft.com/office/drawing/2014/main" id="{38D523EA-6777-9070-C400-49F313A5B244}"/>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6709945-8363-EBEC-38B9-74547B4A527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337798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ASHPAGE AS 3">
    <p:bg>
      <p:bgPr>
        <a:solidFill>
          <a:schemeClr val="bg1"/>
        </a:solidFill>
        <a:effectLst/>
      </p:bgPr>
    </p:bg>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F0762832-CA68-4593-A467-AC9D115B3637}"/>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87947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8264F0AE-C14B-49B4-B2DA-9F7D1027D5B0}"/>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589" b="99761" l="0" r="43004">
                        <a14:foregroundMark x1="10914" y1="33971" x2="93" y2="58373"/>
                        <a14:foregroundMark x1="8209" y1="4306" x2="11567" y2="22249"/>
                        <a14:foregroundMark x1="11567" y1="22249" x2="11567" y2="22249"/>
                        <a14:foregroundMark x1="9515" y1="30144" x2="840" y2="49163"/>
                        <a14:foregroundMark x1="840" y1="49163" x2="653" y2="49282"/>
                        <a14:foregroundMark x1="6716" y1="81100" x2="38340" y2="96172"/>
                        <a14:foregroundMark x1="38340" y1="96172" x2="43190" y2="96890"/>
                        <a14:foregroundMark x1="3731" y1="81220" x2="35261" y2="87679"/>
                        <a14:foregroundMark x1="35261" y1="87679" x2="40299" y2="90311"/>
                        <a14:foregroundMark x1="41698" y1="95335" x2="43097" y2="98804"/>
                        <a14:foregroundMark x1="466" y1="94498" x2="33955" y2="96890"/>
                        <a14:foregroundMark x1="6996" y1="83612" x2="24813" y2="96890"/>
                        <a14:foregroundMark x1="29757" y1="98565" x2="37780" y2="99880"/>
                        <a14:foregroundMark x1="8116" y1="30981" x2="2332" y2="36842"/>
                        <a14:foregroundMark x1="15858" y1="41388" x2="19869" y2="49761"/>
                        <a14:foregroundMark x1="7090" y1="29067" x2="2519" y2="36483"/>
                        <a14:foregroundMark x1="2519" y1="36483" x2="2425" y2="36483"/>
                        <a14:foregroundMark x1="7183" y1="4904" x2="7463" y2="12321"/>
                        <a14:foregroundMark x1="9888" y1="3589" x2="10261" y2="7656"/>
                        <a14:foregroundMark x1="21549" y1="56699" x2="21642" y2="58254"/>
                        <a14:foregroundMark x1="27791" y1="80190" x2="28731" y2="80263"/>
                        <a14:foregroundMark x1="25653" y1="80024" x2="26429" y2="80084"/>
                        <a14:foregroundMark x1="26213" y1="79187" x2="26679" y2="79187"/>
                        <a14:foregroundMark x1="41643" y1="89136" x2="42631" y2="93660"/>
                        <a14:foregroundMark x1="33165" y1="84485" x2="34795" y2="85646"/>
                        <a14:foregroundMark x1="34235" y1="84211" x2="34235" y2="84211"/>
                        <a14:foregroundMark x1="34422" y1="84330" x2="34422" y2="84330"/>
                        <a14:foregroundMark x1="34608" y1="84330" x2="34608" y2="84330"/>
                        <a14:foregroundMark x1="33606" y1="84042" x2="34235" y2="84330"/>
                        <a14:backgroundMark x1="24347" y1="61005" x2="34142" y2="77512"/>
                        <a14:backgroundMark x1="34142" y1="77512" x2="35634" y2="77033"/>
                        <a14:backgroundMark x1="24907" y1="73923" x2="32649" y2="78110"/>
                        <a14:backgroundMark x1="32649" y1="78110" x2="33022" y2="78589"/>
                        <a14:backgroundMark x1="27266" y1="78004" x2="28731" y2="78230"/>
                        <a14:backgroundMark x1="26399" y1="77871" x2="26833" y2="77938"/>
                        <a14:backgroundMark x1="36332" y1="83997" x2="36660" y2="83971"/>
                        <a14:backgroundMark x1="6437" y1="24402" x2="373" y2="30861"/>
                        <a14:backgroundMark x1="373" y1="30861" x2="2146" y2="31579"/>
                        <a14:backgroundMark x1="560" y1="35048" x2="560" y2="36244"/>
                        <a14:backgroundMark x1="1119" y1="36244" x2="746" y2="37201"/>
                        <a14:backgroundMark x1="36474" y1="77632" x2="39086" y2="83373"/>
                        <a14:backgroundMark x1="41604" y1="86005" x2="42227" y2="87364"/>
                        <a14:backgroundMark x1="42257" y1="87321" x2="42537" y2="88876"/>
                        <a14:backgroundMark x1="33396" y1="81818" x2="40299" y2="82177"/>
                        <a14:backgroundMark x1="35443" y1="83852" x2="37407" y2="83852"/>
                        <a14:backgroundMark x1="33209" y1="81699" x2="33209" y2="81699"/>
                        <a14:backgroundMark x1="32929" y1="81699" x2="32929" y2="81699"/>
                        <a14:backgroundMark x1="32649" y1="81699" x2="32649" y2="81699"/>
                        <a14:backgroundMark x1="34422" y1="83732" x2="34422" y2="83732"/>
                        <a14:backgroundMark x1="31250" y1="80383" x2="32369" y2="82177"/>
                        <a14:backgroundMark x1="31903" y1="81699" x2="33675" y2="83971"/>
                        <a14:backgroundMark x1="27612" y1="78349" x2="28638" y2="78947"/>
                      </a14:backgroundRemoval>
                    </a14:imgEffect>
                  </a14:imgLayer>
                </a14:imgProps>
              </a:ext>
              <a:ext uri="{28A0092B-C50C-407E-A947-70E740481C1C}">
                <a14:useLocalDpi xmlns:a14="http://schemas.microsoft.com/office/drawing/2010/main" val="0"/>
              </a:ext>
            </a:extLst>
          </a:blip>
          <a:srcRect t="2565" r="55360"/>
          <a:stretch/>
        </p:blipFill>
        <p:spPr bwMode="auto">
          <a:xfrm>
            <a:off x="-27525" y="175886"/>
            <a:ext cx="4020928" cy="670799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A69F55C0-EC6D-44B3-BB82-E96A09B3420D}"/>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7FCA5E31-9580-496F-9E42-1E6F2E07DAC1}"/>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D9C47CBD-8D33-405D-BC70-B694229714DB}"/>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862EA350-F82E-4D4C-BA13-0794D9500EF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0580316D-5DF0-40B5-A3A6-88A87098D0F4}"/>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64DE458-7348-424D-BA0B-DB2033B3D8DE}"/>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996E8319-087F-4D1A-AC1D-37C5993747B9}"/>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40D1CC14-1DFE-4C16-809F-B47B5942D5F2}"/>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95C80524-C697-4410-9D7A-6F117A5F4279}"/>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5DDAF0C-3AFC-46BF-9F33-8199FA60A7F0}"/>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90E3AB26-4D87-42FF-97FB-5EE9DF93493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16E59A0E-54D9-484E-BDE9-532798001B17}"/>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902106AF-E792-4E14-9E72-A5BF5585803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7F48818E-1D3B-4F50-8868-77EFFF642D4C}"/>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B06DF11D-511A-44B8-9EA4-538E51C5CF3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A8BCBF9B-A739-486F-AE59-ABE12AE02BBB}"/>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8E0AB5A-674C-4DE7-93C2-D6BEC62566BE}"/>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2611CDE5-2616-4304-9622-97E6956492D8}"/>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C2AEE9CC-82AC-42ED-A5E3-1C1FBB598E30}"/>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A5B07C61-CA3C-4B06-BB3B-252F04600D15}"/>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31CC1F13-2300-4736-BD4E-CD50123F3405}"/>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BE2B2A1C-13C0-4A0F-AA7F-40CBF328EF65}"/>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E0E9E105-E9DF-4541-B2CA-211978A177D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9882D4D8-D8CC-400A-A7EB-C0D59FEE4D8F}"/>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7166D34E-8AE8-4558-B308-0690644A3D26}"/>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020417FC-C19B-4FF8-AB1B-5739B92BE92D}"/>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297E7573-727A-400A-9837-0622D2709002}"/>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186FDA2-140B-4619-8E3A-ADE0E4ACC35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916BE292-FFE3-4054-B1F8-459151E35DF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A0C3C8A-737F-48D0-A8E6-F3C2DA9F5C4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2F83213A-1DCA-4D45-B441-286FDD94D27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114399FE-68D5-4F78-94C0-CA2108EBA19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66196BB2-B1EB-4BD8-ACAA-839CF157F03B}"/>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646F30E-3B43-46A7-AC2D-95D5C2C58059}"/>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ACA778B9-DC94-4CD3-9E19-72EC312FE49E}"/>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01896B74-8927-4082-B2BA-829CC59DEBD0}"/>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85DB2747-744C-4272-8285-BCDCA1D76FB4}"/>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AEDBC75-BAF7-4810-92F3-73941FCA715F}"/>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47C0EB01-0544-4C72-9B46-42B7697626A0}"/>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5DF00221-B9A0-4B7D-A3CA-FA773C05FD59}"/>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B1828083-BA49-4A75-AE2E-36F0CAD7EBC6}"/>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7C3BBF84-0C85-4B2F-B83D-0B97A4E4B96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EACF7882-0404-49EE-B918-3B315360A18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7E78C776-2ADD-2740-E783-9BBD7A49F6E7}"/>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1B5B5DB5-9F4D-735F-A09D-446950658D7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3D659A72-8664-613C-6C8C-28657FE6927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E3059F71-EFA5-D7D0-11E4-C31D2F17C10A}"/>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FFA4CA40-7F23-C464-FABD-1D9006ED8EAE}"/>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7287433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PAGE IMAGE RIGHT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59" descr="A picture containing person, outdoor&#10;&#10;Description automatically generated">
            <a:extLst>
              <a:ext uri="{FF2B5EF4-FFF2-40B4-BE49-F238E27FC236}">
                <a16:creationId xmlns:a16="http://schemas.microsoft.com/office/drawing/2014/main" id="{E525F203-3657-4C12-9D51-52D87FF8034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9794" y="3087698"/>
            <a:ext cx="3128359" cy="3128359"/>
          </a:xfrm>
          <a:prstGeom prst="ellipse">
            <a:avLst/>
          </a:prstGeom>
          <a:ln>
            <a:noFill/>
          </a:ln>
        </p:spPr>
      </p:pic>
      <p:sp>
        <p:nvSpPr>
          <p:cNvPr id="2" name="Text Placeholder 4">
            <a:extLst>
              <a:ext uri="{FF2B5EF4-FFF2-40B4-BE49-F238E27FC236}">
                <a16:creationId xmlns:a16="http://schemas.microsoft.com/office/drawing/2014/main" id="{975AB962-F00B-895F-1C8C-B88F35E38558}"/>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8C92905-3855-09DD-0B20-4A3DB9C94EF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7320302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PAGE IMAGE RIGHT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6" name="Picture Placeholder 64" descr="A group of people posing for the camera&#10;&#10;Description automatically generated">
            <a:extLst>
              <a:ext uri="{FF2B5EF4-FFF2-40B4-BE49-F238E27FC236}">
                <a16:creationId xmlns:a16="http://schemas.microsoft.com/office/drawing/2014/main" id="{7599E71C-A1DF-4DCA-92C8-644EF5AED2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45569" y="3068198"/>
            <a:ext cx="3128359" cy="3128359"/>
          </a:xfrm>
          <a:prstGeom prst="ellipse">
            <a:avLst/>
          </a:prstGeom>
          <a:ln>
            <a:noFill/>
          </a:ln>
        </p:spPr>
      </p:pic>
      <p:sp>
        <p:nvSpPr>
          <p:cNvPr id="2" name="Text Placeholder 4">
            <a:extLst>
              <a:ext uri="{FF2B5EF4-FFF2-40B4-BE49-F238E27FC236}">
                <a16:creationId xmlns:a16="http://schemas.microsoft.com/office/drawing/2014/main" id="{80CE9229-F1E0-28A2-16AD-55486750A3D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529FC36-36D6-9A95-EE80-A41556FB5A1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4856327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PAGE IMAGE RIGHT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54" descr="A person holding a ball&#10;&#10;Description automatically generated with medium confidence">
            <a:extLst>
              <a:ext uri="{FF2B5EF4-FFF2-40B4-BE49-F238E27FC236}">
                <a16:creationId xmlns:a16="http://schemas.microsoft.com/office/drawing/2014/main" id="{2A1BE4E1-E7A7-41CC-BB61-12289933AD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18629" y="3105203"/>
            <a:ext cx="3128359" cy="3128359"/>
          </a:xfrm>
          <a:prstGeom prst="ellipse">
            <a:avLst/>
          </a:prstGeom>
          <a:ln>
            <a:noFill/>
          </a:ln>
        </p:spPr>
      </p:pic>
      <p:sp>
        <p:nvSpPr>
          <p:cNvPr id="2" name="Text Placeholder 4">
            <a:extLst>
              <a:ext uri="{FF2B5EF4-FFF2-40B4-BE49-F238E27FC236}">
                <a16:creationId xmlns:a16="http://schemas.microsoft.com/office/drawing/2014/main" id="{19BE6254-4B61-1DF4-E7AB-3F7C43ECCB5D}"/>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EEAF567-B2C2-C231-E439-A7173DBE4D15}"/>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211686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PAGE IMAGE RIGHT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50" descr="A group of women sitting together&#10;&#10;Description automatically generated with low confidence">
            <a:extLst>
              <a:ext uri="{FF2B5EF4-FFF2-40B4-BE49-F238E27FC236}">
                <a16:creationId xmlns:a16="http://schemas.microsoft.com/office/drawing/2014/main" id="{C8AE1489-5A68-4025-8F43-98D28E9AC7F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8427" y="3074129"/>
            <a:ext cx="3128359" cy="3128359"/>
          </a:xfrm>
          <a:prstGeom prst="ellipse">
            <a:avLst/>
          </a:prstGeom>
          <a:ln>
            <a:noFill/>
          </a:ln>
        </p:spPr>
      </p:pic>
      <p:sp>
        <p:nvSpPr>
          <p:cNvPr id="2" name="Text Placeholder 4">
            <a:extLst>
              <a:ext uri="{FF2B5EF4-FFF2-40B4-BE49-F238E27FC236}">
                <a16:creationId xmlns:a16="http://schemas.microsoft.com/office/drawing/2014/main" id="{59CD2144-5116-9F0A-AAA2-AB039B19D2AE}"/>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4E801C5-513C-D36A-B316-A28909B65B7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8484352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PAGE IMAGE RIGHT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225">
            <a:extLst>
              <a:ext uri="{FF2B5EF4-FFF2-40B4-BE49-F238E27FC236}">
                <a16:creationId xmlns:a16="http://schemas.microsoft.com/office/drawing/2014/main" id="{10BC53BA-5DCA-4E4D-A6B7-9F020B472F9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34218" y="3075746"/>
            <a:ext cx="3128359" cy="3128359"/>
          </a:xfrm>
          <a:prstGeom prst="ellipse">
            <a:avLst/>
          </a:prstGeom>
          <a:ln>
            <a:noFill/>
          </a:ln>
        </p:spPr>
      </p:pic>
      <p:sp>
        <p:nvSpPr>
          <p:cNvPr id="2" name="Text Placeholder 4">
            <a:extLst>
              <a:ext uri="{FF2B5EF4-FFF2-40B4-BE49-F238E27FC236}">
                <a16:creationId xmlns:a16="http://schemas.microsoft.com/office/drawing/2014/main" id="{3B52B6B6-4D22-C648-26D4-35A6E1967089}"/>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45750CA-D942-AF9D-2EAD-C541CDB62D64}"/>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171373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PAGE IMAGE RIGHT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6" name="Picture Placeholder 230">
            <a:extLst>
              <a:ext uri="{FF2B5EF4-FFF2-40B4-BE49-F238E27FC236}">
                <a16:creationId xmlns:a16="http://schemas.microsoft.com/office/drawing/2014/main" id="{EFEBBFFA-F6D0-4A08-878C-687BE3AFF5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2156" y="3087220"/>
            <a:ext cx="3128359" cy="3128359"/>
          </a:xfrm>
          <a:prstGeom prst="ellipse">
            <a:avLst/>
          </a:prstGeom>
          <a:ln>
            <a:noFill/>
          </a:ln>
        </p:spPr>
      </p:pic>
      <p:sp>
        <p:nvSpPr>
          <p:cNvPr id="2" name="Text Placeholder 4">
            <a:extLst>
              <a:ext uri="{FF2B5EF4-FFF2-40B4-BE49-F238E27FC236}">
                <a16:creationId xmlns:a16="http://schemas.microsoft.com/office/drawing/2014/main" id="{8F1C73E6-6A7C-964A-7416-3494B862415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6AA7ABF-4DB6-B81E-EDBC-27DCF2741D0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7058760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PAGE IMAGE RIGHT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239">
            <a:extLst>
              <a:ext uri="{FF2B5EF4-FFF2-40B4-BE49-F238E27FC236}">
                <a16:creationId xmlns:a16="http://schemas.microsoft.com/office/drawing/2014/main" id="{9461850F-80C9-4B8C-A8E7-EF6D8D02A0C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4218" y="3084076"/>
            <a:ext cx="3128359" cy="3128359"/>
          </a:xfrm>
          <a:prstGeom prst="ellipse">
            <a:avLst/>
          </a:prstGeom>
          <a:ln>
            <a:noFill/>
          </a:ln>
        </p:spPr>
      </p:pic>
      <p:sp>
        <p:nvSpPr>
          <p:cNvPr id="2" name="Text Placeholder 4">
            <a:extLst>
              <a:ext uri="{FF2B5EF4-FFF2-40B4-BE49-F238E27FC236}">
                <a16:creationId xmlns:a16="http://schemas.microsoft.com/office/drawing/2014/main" id="{6619BDFC-FBBB-AE65-DDBB-D904272D6A1A}"/>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C92DA97-3FCA-5442-BDFC-5BA9392C5BB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4049221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AGE IMAGE RIGHT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Picture Placeholder 216">
            <a:extLst>
              <a:ext uri="{FF2B5EF4-FFF2-40B4-BE49-F238E27FC236}">
                <a16:creationId xmlns:a16="http://schemas.microsoft.com/office/drawing/2014/main" id="{DA64DE30-4E17-479B-A144-247C89F7CE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8427" y="3078271"/>
            <a:ext cx="3128359" cy="3128359"/>
          </a:xfrm>
          <a:prstGeom prst="ellipse">
            <a:avLst/>
          </a:prstGeom>
          <a:ln>
            <a:noFill/>
          </a:ln>
        </p:spPr>
      </p:pic>
      <p:sp>
        <p:nvSpPr>
          <p:cNvPr id="2" name="Text Placeholder 4">
            <a:extLst>
              <a:ext uri="{FF2B5EF4-FFF2-40B4-BE49-F238E27FC236}">
                <a16:creationId xmlns:a16="http://schemas.microsoft.com/office/drawing/2014/main" id="{22197206-250A-B92B-B423-371C212FF990}"/>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041E8F7-CA1C-98DC-0B0E-A63F4BA91E8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065184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PAGE IMAGE RIGHT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79">
            <a:extLst>
              <a:ext uri="{FF2B5EF4-FFF2-40B4-BE49-F238E27FC236}">
                <a16:creationId xmlns:a16="http://schemas.microsoft.com/office/drawing/2014/main" id="{2603C81C-176A-4A44-8738-465B40CE5CD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38514" y="3070350"/>
            <a:ext cx="3128359" cy="3128359"/>
          </a:xfrm>
          <a:prstGeom prst="ellipse">
            <a:avLst/>
          </a:prstGeom>
          <a:ln>
            <a:noFill/>
          </a:ln>
        </p:spPr>
      </p:pic>
      <p:sp>
        <p:nvSpPr>
          <p:cNvPr id="2" name="Text Placeholder 4">
            <a:extLst>
              <a:ext uri="{FF2B5EF4-FFF2-40B4-BE49-F238E27FC236}">
                <a16:creationId xmlns:a16="http://schemas.microsoft.com/office/drawing/2014/main" id="{65A204B3-BD35-F274-B3EA-0F9E29AEF872}"/>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2532817-FEEF-58A6-1364-453834F1F18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4318847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PAGE IMAGE RIGHT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69">
            <a:extLst>
              <a:ext uri="{FF2B5EF4-FFF2-40B4-BE49-F238E27FC236}">
                <a16:creationId xmlns:a16="http://schemas.microsoft.com/office/drawing/2014/main" id="{12DB180C-23DD-4196-9608-03D1822DDDD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71376"/>
            <a:ext cx="3128359" cy="3128359"/>
          </a:xfrm>
          <a:prstGeom prst="ellipse">
            <a:avLst/>
          </a:prstGeom>
          <a:ln>
            <a:noFill/>
          </a:ln>
        </p:spPr>
      </p:pic>
      <p:sp>
        <p:nvSpPr>
          <p:cNvPr id="2" name="Text Placeholder 4">
            <a:extLst>
              <a:ext uri="{FF2B5EF4-FFF2-40B4-BE49-F238E27FC236}">
                <a16:creationId xmlns:a16="http://schemas.microsoft.com/office/drawing/2014/main" id="{420F16EF-E8A4-B5B8-FA34-9753C57D0105}"/>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19DEBB2-A87B-B76F-32C6-992B77935E1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793421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ASHPAGE AS 4">
    <p:bg>
      <p:bgPr>
        <a:solidFill>
          <a:schemeClr val="bg1"/>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9C893BA-F6EE-4E83-BE58-9A0E22A9CF3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81" y="0"/>
            <a:ext cx="80756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D51AD77-9F8E-4FE5-B3D1-C3092AB60B8F}"/>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3531" b="98732" l="180" r="51706">
                        <a14:foregroundMark x1="21364" y1="13531" x2="15889" y2="37209"/>
                        <a14:foregroundMark x1="26391" y1="16490" x2="36266" y2="42495"/>
                        <a14:foregroundMark x1="36266" y1="42495" x2="36355" y2="43658"/>
                        <a14:foregroundMark x1="359" y1="29598" x2="15081" y2="30233"/>
                        <a14:foregroundMark x1="10682" y1="26321" x2="9246" y2="30550"/>
                        <a14:foregroundMark x1="21095" y1="29810" x2="24417" y2="36469"/>
                        <a14:foregroundMark x1="808" y1="65751" x2="3501" y2="98837"/>
                        <a14:foregroundMark x1="1077" y1="96617" x2="1077" y2="96617"/>
                        <a14:foregroundMark x1="19300" y1="91438" x2="41023" y2="93763"/>
                        <a14:foregroundMark x1="41023" y1="93763" x2="45781" y2="97252"/>
                        <a14:foregroundMark x1="27828" y1="97252" x2="38959" y2="97357"/>
                        <a14:foregroundMark x1="19659" y1="92600" x2="45601" y2="73467"/>
                        <a14:foregroundMark x1="45601" y1="73467" x2="50718" y2="66808"/>
                        <a14:foregroundMark x1="50718" y1="66808" x2="50987" y2="65751"/>
                        <a14:foregroundMark x1="48115" y1="73362" x2="44844" y2="82321"/>
                        <a14:foregroundMark x1="49372" y1="72622" x2="48333" y2="77592"/>
                        <a14:foregroundMark x1="49192" y1="75370" x2="49124" y2="76188"/>
                        <a14:foregroundMark x1="6732" y1="24630" x2="5386" y2="29493"/>
                        <a14:foregroundMark x1="359" y1="28330" x2="7361" y2="28858"/>
                        <a14:foregroundMark x1="31598" y1="76321" x2="36445" y2="71987"/>
                        <a14:foregroundMark x1="36445" y1="71987" x2="36445" y2="71987"/>
                        <a14:foregroundMark x1="51706" y1="65328" x2="51706" y2="65328"/>
                        <a14:foregroundMark x1="2693" y1="57082" x2="808" y2="66702"/>
                        <a14:foregroundMark x1="628" y1="57822" x2="1257" y2="64482"/>
                        <a14:foregroundMark x1="36715" y1="71036" x2="36715" y2="72727"/>
                        <a14:foregroundMark x1="29623" y1="44715" x2="29533" y2="46300"/>
                        <a14:foregroundMark x1="47038" y1="79070" x2="46409" y2="84567"/>
                        <a14:foregroundMark x1="45871" y1="84249" x2="40305" y2="86892"/>
                        <a14:foregroundMark x1="41293" y1="86469" x2="39677" y2="89218"/>
                        <a14:foregroundMark x1="48115" y1="79281" x2="48115" y2="79493"/>
                        <a14:foregroundMark x1="47127" y1="79493" x2="48115" y2="82030"/>
                        <a14:backgroundMark x1="16338" y1="69027" x2="45961" y2="57400"/>
                        <a14:backgroundMark x1="42255" y1="87987" x2="44704" y2="87421"/>
                        <a14:backgroundMark x1="16068" y1="66702" x2="34111" y2="60359"/>
                        <a14:backgroundMark x1="20916" y1="62579" x2="31329" y2="55074"/>
                        <a14:backgroundMark x1="31329" y1="55074" x2="36804" y2="46300"/>
                        <a14:backgroundMark x1="14632" y1="60571" x2="17594" y2="64482"/>
                        <a14:backgroundMark x1="18851" y1="73679" x2="23160" y2="78753"/>
                        <a14:backgroundMark x1="48474" y1="77907" x2="48474" y2="77907"/>
                        <a14:backgroundMark x1="48025" y1="77907" x2="49551" y2="78436"/>
                        <a14:backgroundMark x1="47756" y1="78013" x2="49192" y2="77484"/>
                        <a14:backgroundMark x1="48384" y1="77590" x2="48419" y2="78839"/>
                      </a14:backgroundRemoval>
                    </a14:imgEffect>
                  </a14:imgLayer>
                </a14:imgProps>
              </a:ext>
              <a:ext uri="{28A0092B-C50C-407E-A947-70E740481C1C}">
                <a14:useLocalDpi xmlns:a14="http://schemas.microsoft.com/office/drawing/2010/main" val="0"/>
              </a:ext>
            </a:extLst>
          </a:blip>
          <a:srcRect t="11969" r="45115"/>
          <a:stretch/>
        </p:blipFill>
        <p:spPr bwMode="auto">
          <a:xfrm>
            <a:off x="-9526" y="820852"/>
            <a:ext cx="4429125" cy="604667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5" name="Group 14">
            <a:extLst>
              <a:ext uri="{FF2B5EF4-FFF2-40B4-BE49-F238E27FC236}">
                <a16:creationId xmlns:a16="http://schemas.microsoft.com/office/drawing/2014/main" id="{580A3703-6F20-45D6-9C88-75098BA5575C}"/>
              </a:ext>
            </a:extLst>
          </p:cNvPr>
          <p:cNvGrpSpPr/>
          <p:nvPr userDrawn="1"/>
        </p:nvGrpSpPr>
        <p:grpSpPr>
          <a:xfrm>
            <a:off x="6073832" y="268219"/>
            <a:ext cx="5836821" cy="5088756"/>
            <a:chOff x="5836362" y="68074"/>
            <a:chExt cx="6083274" cy="5355263"/>
          </a:xfrm>
        </p:grpSpPr>
        <p:sp>
          <p:nvSpPr>
            <p:cNvPr id="16" name="Oval 15">
              <a:extLst>
                <a:ext uri="{FF2B5EF4-FFF2-40B4-BE49-F238E27FC236}">
                  <a16:creationId xmlns:a16="http://schemas.microsoft.com/office/drawing/2014/main" id="{C31EA660-5266-4A56-A7D6-0C1E6A3C6942}"/>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693BEC8D-B687-4817-9ACB-4BDD9224FA50}"/>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7854D696-4032-463D-9207-225848DE992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726B13DD-8B9E-45BE-B559-BB765425967D}"/>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14140742-013B-4ADB-A18F-83BA2430A609}"/>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1" name="Oval 20">
              <a:extLst>
                <a:ext uri="{FF2B5EF4-FFF2-40B4-BE49-F238E27FC236}">
                  <a16:creationId xmlns:a16="http://schemas.microsoft.com/office/drawing/2014/main" id="{4392C1B2-0DC9-4ABF-8B99-CCFF5DBD265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Circle: Hollow 21">
              <a:extLst>
                <a:ext uri="{FF2B5EF4-FFF2-40B4-BE49-F238E27FC236}">
                  <a16:creationId xmlns:a16="http://schemas.microsoft.com/office/drawing/2014/main" id="{05585273-FCAB-44B6-BE40-85BF8E6A96DA}"/>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Oval 22">
              <a:extLst>
                <a:ext uri="{FF2B5EF4-FFF2-40B4-BE49-F238E27FC236}">
                  <a16:creationId xmlns:a16="http://schemas.microsoft.com/office/drawing/2014/main" id="{300B9C4B-5CEA-4BFA-9B9C-1D73BA93AE90}"/>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EB43A2BB-E209-4AB6-BB05-633F84CE4FB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77F4B326-2C09-4758-AB22-5DC22D7940B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A68E4810-BC5E-4BD3-BE2A-587F2162668C}"/>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41779BAB-9358-44D1-9C61-B395F8C75370}"/>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638BB871-BA65-47C8-8E8E-B58A87FCC4DA}"/>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9" name="Oval 28">
              <a:extLst>
                <a:ext uri="{FF2B5EF4-FFF2-40B4-BE49-F238E27FC236}">
                  <a16:creationId xmlns:a16="http://schemas.microsoft.com/office/drawing/2014/main" id="{D3FFCA38-51D6-4FD1-A6C2-53FFA937226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Circle: Hollow 29">
              <a:extLst>
                <a:ext uri="{FF2B5EF4-FFF2-40B4-BE49-F238E27FC236}">
                  <a16:creationId xmlns:a16="http://schemas.microsoft.com/office/drawing/2014/main" id="{F431AEEC-0BF8-4932-BB17-153969613C9B}"/>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1" name="Oval 30">
              <a:extLst>
                <a:ext uri="{FF2B5EF4-FFF2-40B4-BE49-F238E27FC236}">
                  <a16:creationId xmlns:a16="http://schemas.microsoft.com/office/drawing/2014/main" id="{2C7349A2-898C-4034-AD8A-423440143357}"/>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CE82100B-D46E-4C02-AC3C-BB7CB5A0590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180E1F0B-C39F-4D4A-940A-ED5C3CDE1FE6}"/>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15D6CFA-0A9E-4873-A671-AAB73CE2BE1F}"/>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9B5318EB-C539-4ED3-AFD7-013F33B3897D}"/>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CA5B5448-A185-4451-941D-B3D444FF5134}"/>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4BA66155-B705-4FED-B920-2C8BA2BE8E6E}"/>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198640C-8FF9-4EDC-8495-E7CA72A46625}"/>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2192A3B8-787D-439C-BACD-79CD8260E84C}"/>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0" name="Oval 39">
              <a:extLst>
                <a:ext uri="{FF2B5EF4-FFF2-40B4-BE49-F238E27FC236}">
                  <a16:creationId xmlns:a16="http://schemas.microsoft.com/office/drawing/2014/main" id="{88EDF3D6-FE5D-4B26-9A59-4F175ADF2FB7}"/>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5C9353BB-5454-4454-86F9-4904F7F16A4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EE9A01FA-5DA3-4CA8-B74A-D12B71847986}"/>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3EE9D10C-502B-48D8-AFBB-882ABA7A73F8}"/>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5EDCAAD8-810E-4710-A0E5-1EB189EDE10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3B2BACA6-1DD9-483B-8391-C1E7D591E75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6" name="Oval 45">
              <a:extLst>
                <a:ext uri="{FF2B5EF4-FFF2-40B4-BE49-F238E27FC236}">
                  <a16:creationId xmlns:a16="http://schemas.microsoft.com/office/drawing/2014/main" id="{6E9D910D-B2F0-4A1C-A05E-B79E1C9F7553}"/>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861137BA-27EE-4250-BB80-61C617B3A5B5}"/>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5C2A4BD-CD2D-43D3-9273-4DAE72C70AEB}"/>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A02B2099-5F55-4074-B0C1-21588F74958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E574E98C-09FE-4701-B95B-E364E7BAC78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A03763D6-FAA7-484B-84D7-FAB9EC860161}"/>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7B7B4583-A7A4-49BC-A13D-4173BFBBB9D0}"/>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8B8348E0-241D-4C64-8BE5-E243CF07DF73}"/>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53AD3BD8-CCF5-40F1-9D42-063E0AEE8237}"/>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83F720AD-C8DB-4F8E-A530-1CAB421B924C}"/>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Circle: Hollow 55">
              <a:extLst>
                <a:ext uri="{FF2B5EF4-FFF2-40B4-BE49-F238E27FC236}">
                  <a16:creationId xmlns:a16="http://schemas.microsoft.com/office/drawing/2014/main" id="{DFED4172-20AA-4993-AB8B-DB9042A26C58}"/>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7" name="Circle: Hollow 56">
              <a:extLst>
                <a:ext uri="{FF2B5EF4-FFF2-40B4-BE49-F238E27FC236}">
                  <a16:creationId xmlns:a16="http://schemas.microsoft.com/office/drawing/2014/main" id="{FA450EDC-1A24-4C82-9091-F0AD5E76F18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4DB523D-A453-944C-347C-1456161B5935}"/>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3D13D042-9CCE-35D7-BE04-BBE6FD6DF49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D890A428-257A-D9A8-A3A4-36D1C6F1B0F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722C8C2C-6094-9A67-51D7-46D49B75F6C2}"/>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EF987AF1-8FF4-B419-0698-6EE513590686}"/>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056422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PAGE IMAGE RIGHT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74">
            <a:extLst>
              <a:ext uri="{FF2B5EF4-FFF2-40B4-BE49-F238E27FC236}">
                <a16:creationId xmlns:a16="http://schemas.microsoft.com/office/drawing/2014/main" id="{AE47E58D-ADE0-43FB-9C20-6642FC7BBCE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4856" y="3078271"/>
            <a:ext cx="3128359" cy="3128359"/>
          </a:xfrm>
          <a:prstGeom prst="ellipse">
            <a:avLst/>
          </a:prstGeom>
          <a:ln>
            <a:noFill/>
          </a:ln>
        </p:spPr>
      </p:pic>
      <p:sp>
        <p:nvSpPr>
          <p:cNvPr id="2" name="Text Placeholder 4">
            <a:extLst>
              <a:ext uri="{FF2B5EF4-FFF2-40B4-BE49-F238E27FC236}">
                <a16:creationId xmlns:a16="http://schemas.microsoft.com/office/drawing/2014/main" id="{422C9504-F4C8-8AA1-D2F7-F5CCF69F186F}"/>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4CC313D-9E6C-FA4F-EE23-39E9B1A0892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8186047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PAGE IMAGE RIGHT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Picture Placeholder 2">
            <a:extLst>
              <a:ext uri="{FF2B5EF4-FFF2-40B4-BE49-F238E27FC236}">
                <a16:creationId xmlns:a16="http://schemas.microsoft.com/office/drawing/2014/main" id="{C6CA69D8-19F0-4828-83B5-AEBA0A9C72E0}"/>
              </a:ext>
            </a:extLst>
          </p:cNvPr>
          <p:cNvSpPr>
            <a:spLocks noGrp="1" noChangeAspect="1"/>
          </p:cNvSpPr>
          <p:nvPr>
            <p:ph type="pic" sz="quarter" idx="10"/>
          </p:nvPr>
        </p:nvSpPr>
        <p:spPr>
          <a:xfrm>
            <a:off x="8748942" y="3074902"/>
            <a:ext cx="3128359" cy="3128359"/>
          </a:xfrm>
          <a:prstGeom prst="ellipse">
            <a:avLst/>
          </a:prstGeom>
          <a:ln>
            <a:noFill/>
          </a:ln>
        </p:spPr>
        <p:txBody>
          <a:bodyPr/>
          <a:lstStyle/>
          <a:p>
            <a:endParaRPr lang="nl-NL"/>
          </a:p>
        </p:txBody>
      </p:sp>
      <p:sp>
        <p:nvSpPr>
          <p:cNvPr id="24" name="Oval 23">
            <a:extLst>
              <a:ext uri="{FF2B5EF4-FFF2-40B4-BE49-F238E27FC236}">
                <a16:creationId xmlns:a16="http://schemas.microsoft.com/office/drawing/2014/main" id="{30BBC232-BAC0-40A1-8F42-FCA7EA500566}"/>
              </a:ext>
            </a:extLst>
          </p:cNvPr>
          <p:cNvSpPr>
            <a:spLocks noChangeAspect="1"/>
          </p:cNvSpPr>
          <p:nvPr userDrawn="1"/>
        </p:nvSpPr>
        <p:spPr>
          <a:xfrm>
            <a:off x="8816540" y="5844425"/>
            <a:ext cx="175952" cy="17425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20ADA4AA-4699-4CC0-AECD-6B3A36C02E10}"/>
              </a:ext>
            </a:extLst>
          </p:cNvPr>
          <p:cNvSpPr>
            <a:spLocks noChangeAspect="1"/>
          </p:cNvSpPr>
          <p:nvPr userDrawn="1"/>
        </p:nvSpPr>
        <p:spPr>
          <a:xfrm>
            <a:off x="9229794" y="6376603"/>
            <a:ext cx="86693" cy="85857"/>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25EE7E56-16BA-D1D3-B124-41F698FA43FB}"/>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04DCBB8-FDD2-232B-541E-93C85FD5C27B}"/>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267003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PAGE IMAGE TOP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4">
            <a:extLst>
              <a:ext uri="{FF2B5EF4-FFF2-40B4-BE49-F238E27FC236}">
                <a16:creationId xmlns:a16="http://schemas.microsoft.com/office/drawing/2014/main" id="{B14C1D5E-D5B8-4181-86A0-A33091D97C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3437" y="-184771"/>
            <a:ext cx="3128359" cy="3128359"/>
          </a:xfrm>
          <a:prstGeom prst="ellipse">
            <a:avLst/>
          </a:prstGeom>
          <a:ln>
            <a:noFill/>
          </a:ln>
        </p:spPr>
      </p:pic>
      <p:sp>
        <p:nvSpPr>
          <p:cNvPr id="2" name="Text Placeholder 4">
            <a:extLst>
              <a:ext uri="{FF2B5EF4-FFF2-40B4-BE49-F238E27FC236}">
                <a16:creationId xmlns:a16="http://schemas.microsoft.com/office/drawing/2014/main" id="{EE5DFE50-C942-53B4-E8A6-495C1347A1FA}"/>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671BD0C-696E-AC13-C504-908043E6F4CC}"/>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0482091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PAGE IMAGE TOP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4">
            <a:extLst>
              <a:ext uri="{FF2B5EF4-FFF2-40B4-BE49-F238E27FC236}">
                <a16:creationId xmlns:a16="http://schemas.microsoft.com/office/drawing/2014/main" id="{DE0BCFC4-CC25-42AF-86DC-D7E4B67E66E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0540" y="-197471"/>
            <a:ext cx="3128359" cy="3128359"/>
          </a:xfrm>
          <a:prstGeom prst="ellipse">
            <a:avLst/>
          </a:prstGeom>
          <a:ln>
            <a:noFill/>
          </a:ln>
        </p:spPr>
      </p:pic>
      <p:sp>
        <p:nvSpPr>
          <p:cNvPr id="2" name="Text Placeholder 4">
            <a:extLst>
              <a:ext uri="{FF2B5EF4-FFF2-40B4-BE49-F238E27FC236}">
                <a16:creationId xmlns:a16="http://schemas.microsoft.com/office/drawing/2014/main" id="{7E56700A-7077-27EF-6220-D14D07699FC6}"/>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294B2CF-4D49-D001-07F3-8F1E8E6C775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745005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PAGE IMAGE TOP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
            <a:extLst>
              <a:ext uri="{FF2B5EF4-FFF2-40B4-BE49-F238E27FC236}">
                <a16:creationId xmlns:a16="http://schemas.microsoft.com/office/drawing/2014/main" id="{520A71E0-7177-4D61-9066-6FC5199641E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8725" y="-187439"/>
            <a:ext cx="3128359" cy="3128359"/>
          </a:xfrm>
          <a:prstGeom prst="ellipse">
            <a:avLst/>
          </a:prstGeom>
        </p:spPr>
      </p:pic>
      <p:sp>
        <p:nvSpPr>
          <p:cNvPr id="2" name="Text Placeholder 4">
            <a:extLst>
              <a:ext uri="{FF2B5EF4-FFF2-40B4-BE49-F238E27FC236}">
                <a16:creationId xmlns:a16="http://schemas.microsoft.com/office/drawing/2014/main" id="{AC6A0537-F6F5-6630-6BAE-9557C8812A05}"/>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1F4DECD-43BA-3C9F-0DD6-B458D855445B}"/>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953105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PAGE IMAGE TOP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2">
            <a:extLst>
              <a:ext uri="{FF2B5EF4-FFF2-40B4-BE49-F238E27FC236}">
                <a16:creationId xmlns:a16="http://schemas.microsoft.com/office/drawing/2014/main" id="{4C53DADF-2E96-4FD0-9558-AEEEA600145E}"/>
              </a:ext>
            </a:extLst>
          </p:cNvPr>
          <p:cNvPicPr preferRelativeResize="0">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rot="1044149">
            <a:off x="9371652" y="-147391"/>
            <a:ext cx="3050745" cy="3050745"/>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4">
            <a:extLst>
              <a:ext uri="{FF2B5EF4-FFF2-40B4-BE49-F238E27FC236}">
                <a16:creationId xmlns:a16="http://schemas.microsoft.com/office/drawing/2014/main" id="{DD7C5BB1-53BE-99C1-D20B-3ECB21A34F94}"/>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4770670-2714-C438-45A7-F5905F7AAEAD}"/>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6969447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PAGE IMAGE TOP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43" descr="A picture containing person&#10;&#10;Description automatically generated">
            <a:extLst>
              <a:ext uri="{FF2B5EF4-FFF2-40B4-BE49-F238E27FC236}">
                <a16:creationId xmlns:a16="http://schemas.microsoft.com/office/drawing/2014/main" id="{08BCFD84-0579-4926-BBFC-C7CFB3D06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1117" y="-191121"/>
            <a:ext cx="3128359" cy="3128359"/>
          </a:xfrm>
          <a:prstGeom prst="ellipse">
            <a:avLst/>
          </a:prstGeom>
          <a:ln>
            <a:noFill/>
          </a:ln>
        </p:spPr>
      </p:pic>
      <p:sp>
        <p:nvSpPr>
          <p:cNvPr id="2" name="Text Placeholder 4">
            <a:extLst>
              <a:ext uri="{FF2B5EF4-FFF2-40B4-BE49-F238E27FC236}">
                <a16:creationId xmlns:a16="http://schemas.microsoft.com/office/drawing/2014/main" id="{D849E9E7-262E-2BFC-991B-9FD875ADED06}"/>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B2078F7-E95B-11A9-0846-ABEE5A921EB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049095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PAGE IMAGE TOP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9" descr="A person with flowers on the head&#10;&#10;Description automatically generated with medium confidence">
            <a:extLst>
              <a:ext uri="{FF2B5EF4-FFF2-40B4-BE49-F238E27FC236}">
                <a16:creationId xmlns:a16="http://schemas.microsoft.com/office/drawing/2014/main" id="{CA779867-0237-46AD-A0F6-961600B32B6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1592" y="-214772"/>
            <a:ext cx="3128359" cy="3128359"/>
          </a:xfrm>
          <a:prstGeom prst="ellipse">
            <a:avLst/>
          </a:prstGeom>
          <a:ln>
            <a:noFill/>
          </a:ln>
        </p:spPr>
      </p:pic>
      <p:sp>
        <p:nvSpPr>
          <p:cNvPr id="2" name="Text Placeholder 4">
            <a:extLst>
              <a:ext uri="{FF2B5EF4-FFF2-40B4-BE49-F238E27FC236}">
                <a16:creationId xmlns:a16="http://schemas.microsoft.com/office/drawing/2014/main" id="{74AE4EEC-CA6D-D964-9CB5-A6496D37CD2A}"/>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B241BFF-F702-6DBE-0B06-27F2E1094D52}"/>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0056185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AGE IMAGE TOP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4" descr="A group of people sitting on stairs looking at a computer&#10;&#10;Description automatically generated with low confidence">
            <a:extLst>
              <a:ext uri="{FF2B5EF4-FFF2-40B4-BE49-F238E27FC236}">
                <a16:creationId xmlns:a16="http://schemas.microsoft.com/office/drawing/2014/main" id="{96500467-F130-4FDC-88F2-FFB6E3A03D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7187" y="-181596"/>
            <a:ext cx="3128359" cy="3128359"/>
          </a:xfrm>
          <a:prstGeom prst="ellipse">
            <a:avLst/>
          </a:prstGeom>
          <a:ln>
            <a:noFill/>
          </a:ln>
        </p:spPr>
      </p:pic>
      <p:sp>
        <p:nvSpPr>
          <p:cNvPr id="2" name="Text Placeholder 4">
            <a:extLst>
              <a:ext uri="{FF2B5EF4-FFF2-40B4-BE49-F238E27FC236}">
                <a16:creationId xmlns:a16="http://schemas.microsoft.com/office/drawing/2014/main" id="{58566FFE-B91F-BA9E-37D9-4E8727810823}"/>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6DD6CDD-21B1-64B5-C9BE-AEA9582C15A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6489803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PAGE IMAGE TOP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48" descr="A person writing on a chalkboard&#10;&#10;Description automatically generated with medium confidence">
            <a:extLst>
              <a:ext uri="{FF2B5EF4-FFF2-40B4-BE49-F238E27FC236}">
                <a16:creationId xmlns:a16="http://schemas.microsoft.com/office/drawing/2014/main" id="{15CE9E89-66A1-4CED-8762-3831666849F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6612" y="-199565"/>
            <a:ext cx="3128359" cy="3128359"/>
          </a:xfrm>
          <a:prstGeom prst="ellipse">
            <a:avLst/>
          </a:prstGeom>
          <a:ln>
            <a:noFill/>
          </a:ln>
        </p:spPr>
      </p:pic>
      <p:sp>
        <p:nvSpPr>
          <p:cNvPr id="2" name="Text Placeholder 4">
            <a:extLst>
              <a:ext uri="{FF2B5EF4-FFF2-40B4-BE49-F238E27FC236}">
                <a16:creationId xmlns:a16="http://schemas.microsoft.com/office/drawing/2014/main" id="{32AF1072-E84E-D865-2A78-9C92D5B6A998}"/>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20DF98D-5D30-334A-19B7-B52F876BD96E}"/>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433277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ASHPAGE SA 1">
    <p:bg>
      <p:bgPr>
        <a:solidFill>
          <a:schemeClr val="bg1"/>
        </a:solidFill>
        <a:effectLst/>
      </p:bgPr>
    </p:bg>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77D461A4-8970-4809-ABD0-39660BFC747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2" y="0"/>
            <a:ext cx="700241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6D091A8C-3942-4DDE-7739-66C59BE039CF}"/>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7E051ECC-7ECE-8A73-875C-BC8A63E794A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E351FB4C-0818-3154-A291-ECF3CE321F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282EB344-2E1D-804A-08EB-6C586B0C6D88}"/>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827913B8-5365-0A27-38C9-2B7176F3F69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6552093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PAGE IMAGE TOP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01">
            <a:extLst>
              <a:ext uri="{FF2B5EF4-FFF2-40B4-BE49-F238E27FC236}">
                <a16:creationId xmlns:a16="http://schemas.microsoft.com/office/drawing/2014/main" id="{86D8F57F-56C0-4587-B013-ACC9DA32D7D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7201" y="-184771"/>
            <a:ext cx="3128359" cy="3128359"/>
          </a:xfrm>
          <a:prstGeom prst="ellipse">
            <a:avLst/>
          </a:prstGeom>
          <a:ln>
            <a:noFill/>
          </a:ln>
        </p:spPr>
      </p:pic>
      <p:sp>
        <p:nvSpPr>
          <p:cNvPr id="2" name="Text Placeholder 4">
            <a:extLst>
              <a:ext uri="{FF2B5EF4-FFF2-40B4-BE49-F238E27FC236}">
                <a16:creationId xmlns:a16="http://schemas.microsoft.com/office/drawing/2014/main" id="{C1F6FF43-1B44-0218-BE6D-74B0EEE7240C}"/>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E7446A2-5CC8-CAC4-D972-E2D61497713D}"/>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0686796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PAGE IMAGE TOP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120" descr="A group of people posing for a photo&#10;&#10;Description automatically generated with low confidence">
            <a:extLst>
              <a:ext uri="{FF2B5EF4-FFF2-40B4-BE49-F238E27FC236}">
                <a16:creationId xmlns:a16="http://schemas.microsoft.com/office/drawing/2014/main" id="{8AF64015-9027-4C00-AA13-27AB6E8C50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26636" y="-197471"/>
            <a:ext cx="3128359" cy="3128359"/>
          </a:xfrm>
          <a:prstGeom prst="ellipse">
            <a:avLst/>
          </a:prstGeom>
          <a:ln>
            <a:noFill/>
          </a:ln>
        </p:spPr>
      </p:pic>
      <p:sp>
        <p:nvSpPr>
          <p:cNvPr id="2" name="Text Placeholder 4">
            <a:extLst>
              <a:ext uri="{FF2B5EF4-FFF2-40B4-BE49-F238E27FC236}">
                <a16:creationId xmlns:a16="http://schemas.microsoft.com/office/drawing/2014/main" id="{5B337798-3004-B2F2-BD4A-3517AFE49279}"/>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B0804F7-9199-050D-8AB3-EB9556273FBC}"/>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6669551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PAGE IMAGE TOP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 name="Picture Placeholder 115">
            <a:extLst>
              <a:ext uri="{FF2B5EF4-FFF2-40B4-BE49-F238E27FC236}">
                <a16:creationId xmlns:a16="http://schemas.microsoft.com/office/drawing/2014/main" id="{CFFEB35F-6F7F-44D3-AC0B-C6A452C168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48002" y="-184771"/>
            <a:ext cx="3128359" cy="3128359"/>
          </a:xfrm>
          <a:prstGeom prst="ellipse">
            <a:avLst/>
          </a:prstGeom>
          <a:ln>
            <a:noFill/>
          </a:ln>
        </p:spPr>
      </p:pic>
      <p:sp>
        <p:nvSpPr>
          <p:cNvPr id="2" name="Text Placeholder 4">
            <a:extLst>
              <a:ext uri="{FF2B5EF4-FFF2-40B4-BE49-F238E27FC236}">
                <a16:creationId xmlns:a16="http://schemas.microsoft.com/office/drawing/2014/main" id="{F9997CC1-EAD6-F97E-D502-8E39E8EA080D}"/>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15826EC-041D-9FEE-D622-E913189B7790}"/>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897181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PAGE IMAGE TOP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11" descr="A picture containing text, person, feet&#10;&#10;Description automatically generated">
            <a:extLst>
              <a:ext uri="{FF2B5EF4-FFF2-40B4-BE49-F238E27FC236}">
                <a16:creationId xmlns:a16="http://schemas.microsoft.com/office/drawing/2014/main" id="{F6ED375F-7F58-4C80-9463-D3CB2D5A93C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6137" y="-172071"/>
            <a:ext cx="3128359" cy="3128359"/>
          </a:xfrm>
          <a:prstGeom prst="ellipse">
            <a:avLst/>
          </a:prstGeom>
          <a:ln>
            <a:noFill/>
          </a:ln>
        </p:spPr>
      </p:pic>
      <p:sp>
        <p:nvSpPr>
          <p:cNvPr id="2" name="Text Placeholder 4">
            <a:extLst>
              <a:ext uri="{FF2B5EF4-FFF2-40B4-BE49-F238E27FC236}">
                <a16:creationId xmlns:a16="http://schemas.microsoft.com/office/drawing/2014/main" id="{93B0EC30-966F-CE1F-BEE8-E7ECE82E97CF}"/>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A266BDD-BD5E-2E6F-2327-B19C58381D52}"/>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624185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PAGE IMAGE TOP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61" descr="A person holding a football ball&#10;&#10;Description automatically generated">
            <a:extLst>
              <a:ext uri="{FF2B5EF4-FFF2-40B4-BE49-F238E27FC236}">
                <a16:creationId xmlns:a16="http://schemas.microsoft.com/office/drawing/2014/main" id="{F705FA6C-BF95-4E05-93CA-B7ED29F1BA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4292" y="-194068"/>
            <a:ext cx="3128359" cy="3128359"/>
          </a:xfrm>
          <a:prstGeom prst="ellipse">
            <a:avLst/>
          </a:prstGeom>
          <a:ln>
            <a:noFill/>
          </a:ln>
        </p:spPr>
      </p:pic>
      <p:sp>
        <p:nvSpPr>
          <p:cNvPr id="2" name="Text Placeholder 4">
            <a:extLst>
              <a:ext uri="{FF2B5EF4-FFF2-40B4-BE49-F238E27FC236}">
                <a16:creationId xmlns:a16="http://schemas.microsoft.com/office/drawing/2014/main" id="{249CB060-90D4-4815-BF9B-D001CB268BBC}"/>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C5E427B-4C2D-2838-9538-7000B1C0FE5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3387103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PAGE IMAGE TOP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256" descr="A group of people smiling&#10;&#10;Description automatically generated with low confidence">
            <a:extLst>
              <a:ext uri="{FF2B5EF4-FFF2-40B4-BE49-F238E27FC236}">
                <a16:creationId xmlns:a16="http://schemas.microsoft.com/office/drawing/2014/main" id="{0D8DA78A-2BCE-4BBC-BE2E-089E1489887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6137" y="-196893"/>
            <a:ext cx="3128359" cy="3128359"/>
          </a:xfrm>
          <a:prstGeom prst="ellipse">
            <a:avLst/>
          </a:prstGeom>
          <a:ln>
            <a:noFill/>
          </a:ln>
        </p:spPr>
      </p:pic>
      <p:sp>
        <p:nvSpPr>
          <p:cNvPr id="2" name="Text Placeholder 4">
            <a:extLst>
              <a:ext uri="{FF2B5EF4-FFF2-40B4-BE49-F238E27FC236}">
                <a16:creationId xmlns:a16="http://schemas.microsoft.com/office/drawing/2014/main" id="{035527CE-B2D2-1972-687D-50447AB4C3B4}"/>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1634996-0765-F5A0-826D-EEFF54107B0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858231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PAGE IMAGE TOP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46">
            <a:extLst>
              <a:ext uri="{FF2B5EF4-FFF2-40B4-BE49-F238E27FC236}">
                <a16:creationId xmlns:a16="http://schemas.microsoft.com/office/drawing/2014/main" id="{CAB63D51-5793-46F1-8744-861B3FD9252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49887" y="-196893"/>
            <a:ext cx="3128359" cy="3128359"/>
          </a:xfrm>
          <a:prstGeom prst="ellipse">
            <a:avLst/>
          </a:prstGeom>
          <a:ln>
            <a:noFill/>
          </a:ln>
        </p:spPr>
      </p:pic>
      <p:sp>
        <p:nvSpPr>
          <p:cNvPr id="2" name="Text Placeholder 4">
            <a:extLst>
              <a:ext uri="{FF2B5EF4-FFF2-40B4-BE49-F238E27FC236}">
                <a16:creationId xmlns:a16="http://schemas.microsoft.com/office/drawing/2014/main" id="{A9157641-8FCB-B728-30A8-49C2DBB13C55}"/>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ABD15F1-121D-8409-78B5-3037CC1C9F7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2461499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PAGE IMAGE TOP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51">
            <a:extLst>
              <a:ext uri="{FF2B5EF4-FFF2-40B4-BE49-F238E27FC236}">
                <a16:creationId xmlns:a16="http://schemas.microsoft.com/office/drawing/2014/main" id="{7C336B2F-321B-456B-81E0-9A1CEE04B3D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0540" y="-186197"/>
            <a:ext cx="3128359" cy="3128359"/>
          </a:xfrm>
          <a:prstGeom prst="ellipse">
            <a:avLst/>
          </a:prstGeom>
          <a:ln>
            <a:noFill/>
          </a:ln>
        </p:spPr>
      </p:pic>
      <p:sp>
        <p:nvSpPr>
          <p:cNvPr id="2" name="Text Placeholder 4">
            <a:extLst>
              <a:ext uri="{FF2B5EF4-FFF2-40B4-BE49-F238E27FC236}">
                <a16:creationId xmlns:a16="http://schemas.microsoft.com/office/drawing/2014/main" id="{F2CB01D5-5CAC-A981-0A59-128A314160A0}"/>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49815CA-469D-4483-A81E-EEBD9C25FA53}"/>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2612086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PAGE IMAGE TOP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7" descr="A boat in the water with a city in the background&#10;&#10;Description automatically generated with medium confidence">
            <a:extLst>
              <a:ext uri="{FF2B5EF4-FFF2-40B4-BE49-F238E27FC236}">
                <a16:creationId xmlns:a16="http://schemas.microsoft.com/office/drawing/2014/main" id="{93D9F701-A45B-4056-9089-69A8A0B881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4292" y="-172071"/>
            <a:ext cx="3128359" cy="3128359"/>
          </a:xfrm>
          <a:prstGeom prst="ellipse">
            <a:avLst/>
          </a:prstGeom>
          <a:ln>
            <a:noFill/>
          </a:ln>
        </p:spPr>
      </p:pic>
      <p:sp>
        <p:nvSpPr>
          <p:cNvPr id="2" name="Text Placeholder 4">
            <a:extLst>
              <a:ext uri="{FF2B5EF4-FFF2-40B4-BE49-F238E27FC236}">
                <a16:creationId xmlns:a16="http://schemas.microsoft.com/office/drawing/2014/main" id="{5A38E71E-BC9B-C633-4455-8E38AE9A7D87}"/>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5160F89-BC8D-BD9A-A6F6-E3574C14912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717189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PAGE IMAGE TOP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91">
            <a:extLst>
              <a:ext uri="{FF2B5EF4-FFF2-40B4-BE49-F238E27FC236}">
                <a16:creationId xmlns:a16="http://schemas.microsoft.com/office/drawing/2014/main" id="{AC988EF4-DC1B-47A5-9A3F-A94DF565659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4292" y="-206407"/>
            <a:ext cx="3128359" cy="3128359"/>
          </a:xfrm>
          <a:prstGeom prst="ellipse">
            <a:avLst/>
          </a:prstGeom>
          <a:ln>
            <a:noFill/>
          </a:ln>
        </p:spPr>
      </p:pic>
      <p:sp>
        <p:nvSpPr>
          <p:cNvPr id="2" name="Text Placeholder 4">
            <a:extLst>
              <a:ext uri="{FF2B5EF4-FFF2-40B4-BE49-F238E27FC236}">
                <a16:creationId xmlns:a16="http://schemas.microsoft.com/office/drawing/2014/main" id="{335D3E27-B89B-D97B-50D8-10FB957D86FE}"/>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A77035E-FCCC-0DC2-F9CA-C9AC3FA86EF7}"/>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7341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ASHPAGE SA 2">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800FDC1B-0B9C-4C20-A80D-DC43B0FD51C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B2FD31D6-857F-4AA6-8F21-E540A8982BFB}"/>
              </a:ext>
            </a:extLst>
          </p:cNvPr>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68B8BED-2257-C9C1-6EAB-FF0715CDEB66}"/>
              </a:ext>
            </a:extLst>
          </p:cNvPr>
          <p:cNvGrpSpPr/>
          <p:nvPr userDrawn="1"/>
        </p:nvGrpSpPr>
        <p:grpSpPr>
          <a:xfrm>
            <a:off x="191742" y="216098"/>
            <a:ext cx="5241454" cy="644967"/>
            <a:chOff x="0" y="0"/>
            <a:chExt cx="3793402" cy="559435"/>
          </a:xfrm>
        </p:grpSpPr>
        <p:sp>
          <p:nvSpPr>
            <p:cNvPr id="6" name="Rectangle 5">
              <a:extLst>
                <a:ext uri="{FF2B5EF4-FFF2-40B4-BE49-F238E27FC236}">
                  <a16:creationId xmlns:a16="http://schemas.microsoft.com/office/drawing/2014/main" id="{FB00030D-85E9-67FE-2024-F06DF461244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nl-NL"/>
            </a:p>
          </p:txBody>
        </p:sp>
        <p:pic>
          <p:nvPicPr>
            <p:cNvPr id="7" name="Picture 6">
              <a:extLst>
                <a:ext uri="{FF2B5EF4-FFF2-40B4-BE49-F238E27FC236}">
                  <a16:creationId xmlns:a16="http://schemas.microsoft.com/office/drawing/2014/main" id="{869DD2AB-F95A-1FA8-FA56-11279D3D60E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25E5BC8-5333-36ED-DC17-8964E2405AB0}"/>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4E5360BB-3314-C8C1-3617-04F46381C0F8}"/>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511530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PAGE IMAGE TOP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96">
            <a:extLst>
              <a:ext uri="{FF2B5EF4-FFF2-40B4-BE49-F238E27FC236}">
                <a16:creationId xmlns:a16="http://schemas.microsoft.com/office/drawing/2014/main" id="{BE534D03-BC3E-41D3-86E8-FE5C239CFD9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7187" y="-186197"/>
            <a:ext cx="3128359" cy="3128359"/>
          </a:xfrm>
          <a:prstGeom prst="ellipse">
            <a:avLst/>
          </a:prstGeom>
          <a:ln>
            <a:noFill/>
          </a:ln>
        </p:spPr>
      </p:pic>
      <p:sp>
        <p:nvSpPr>
          <p:cNvPr id="2" name="Text Placeholder 4">
            <a:extLst>
              <a:ext uri="{FF2B5EF4-FFF2-40B4-BE49-F238E27FC236}">
                <a16:creationId xmlns:a16="http://schemas.microsoft.com/office/drawing/2014/main" id="{60A93605-5826-0331-3923-A09981D6B7FB}"/>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A70DA8E-7663-6A65-63F6-406F3A17281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1328845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PAGE IMAGE TOP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1" name="Circle: Hollow 10">
            <a:extLst>
              <a:ext uri="{FF2B5EF4-FFF2-40B4-BE49-F238E27FC236}">
                <a16:creationId xmlns:a16="http://schemas.microsoft.com/office/drawing/2014/main" id="{9C70BD3E-C9D9-4F81-94C9-3BE89B4CED01}"/>
              </a:ext>
            </a:extLst>
          </p:cNvPr>
          <p:cNvSpPr>
            <a:spLocks noChangeAspect="1"/>
          </p:cNvSpPr>
          <p:nvPr userDrawn="1"/>
        </p:nvSpPr>
        <p:spPr>
          <a:xfrm>
            <a:off x="9081128" y="-488511"/>
            <a:ext cx="3653741" cy="3618510"/>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AA6FAA8F-A86A-411A-9FC3-EFBDD1332726}"/>
              </a:ext>
            </a:extLst>
          </p:cNvPr>
          <p:cNvSpPr>
            <a:spLocks noChangeAspect="1"/>
          </p:cNvSpPr>
          <p:nvPr userDrawn="1"/>
        </p:nvSpPr>
        <p:spPr>
          <a:xfrm>
            <a:off x="9181713" y="-398814"/>
            <a:ext cx="3464711" cy="3431302"/>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0" name="Picture Placeholder 2">
            <a:extLst>
              <a:ext uri="{FF2B5EF4-FFF2-40B4-BE49-F238E27FC236}">
                <a16:creationId xmlns:a16="http://schemas.microsoft.com/office/drawing/2014/main" id="{69CCF839-CB7A-451F-9F2C-6D310B5F0286}"/>
              </a:ext>
            </a:extLst>
          </p:cNvPr>
          <p:cNvSpPr>
            <a:spLocks noGrp="1" noChangeAspect="1"/>
          </p:cNvSpPr>
          <p:nvPr>
            <p:ph type="pic" sz="quarter" idx="10"/>
          </p:nvPr>
        </p:nvSpPr>
        <p:spPr>
          <a:xfrm>
            <a:off x="9328725" y="-250939"/>
            <a:ext cx="3128359" cy="3128359"/>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969DCE78-5DAC-A743-A96F-73DBC5D08109}"/>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583F4F1-C62C-2C74-E41E-E30809EC6121}"/>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1411435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PAGE IMAGE TOP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53">
            <a:extLst>
              <a:ext uri="{FF2B5EF4-FFF2-40B4-BE49-F238E27FC236}">
                <a16:creationId xmlns:a16="http://schemas.microsoft.com/office/drawing/2014/main" id="{9B2EF9C4-E552-4E71-AE20-8B63C44450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774"/>
          <a:stretch/>
        </p:blipFill>
        <p:spPr>
          <a:xfrm>
            <a:off x="9452200" y="-185519"/>
            <a:ext cx="2881395" cy="2881395"/>
          </a:xfrm>
          <a:prstGeom prst="ellipse">
            <a:avLst/>
          </a:prstGeom>
          <a:ln>
            <a:noFill/>
          </a:ln>
        </p:spPr>
      </p:pic>
      <p:sp>
        <p:nvSpPr>
          <p:cNvPr id="2" name="Text Placeholder 4">
            <a:extLst>
              <a:ext uri="{FF2B5EF4-FFF2-40B4-BE49-F238E27FC236}">
                <a16:creationId xmlns:a16="http://schemas.microsoft.com/office/drawing/2014/main" id="{AE23CB62-78C7-75B1-B358-377FD7859B1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4" name="Slide Number Placeholder 3">
            <a:extLst>
              <a:ext uri="{FF2B5EF4-FFF2-40B4-BE49-F238E27FC236}">
                <a16:creationId xmlns:a16="http://schemas.microsoft.com/office/drawing/2014/main" id="{BD45D2D3-98D7-3DA9-DB56-D0809DCF7EC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9695357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PAGE IMAGE TOP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7" name="Picture Placeholder 43">
            <a:extLst>
              <a:ext uri="{FF2B5EF4-FFF2-40B4-BE49-F238E27FC236}">
                <a16:creationId xmlns:a16="http://schemas.microsoft.com/office/drawing/2014/main" id="{77C9E4C0-91E8-49BA-94FD-77F0192FB09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34123" y="-193655"/>
            <a:ext cx="2881395" cy="2881395"/>
          </a:xfrm>
          <a:prstGeom prst="ellipse">
            <a:avLst/>
          </a:prstGeom>
          <a:ln>
            <a:noFill/>
          </a:ln>
        </p:spPr>
      </p:pic>
      <p:sp>
        <p:nvSpPr>
          <p:cNvPr id="2" name="Text Placeholder 4">
            <a:extLst>
              <a:ext uri="{FF2B5EF4-FFF2-40B4-BE49-F238E27FC236}">
                <a16:creationId xmlns:a16="http://schemas.microsoft.com/office/drawing/2014/main" id="{472C0CB2-1F16-049A-31FD-677973F54E0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BDBA153-4B26-6DEA-0A3E-0CFDF99C54DA}"/>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42652946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PAGE IMAGE TOP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48">
            <a:extLst>
              <a:ext uri="{FF2B5EF4-FFF2-40B4-BE49-F238E27FC236}">
                <a16:creationId xmlns:a16="http://schemas.microsoft.com/office/drawing/2014/main" id="{E9D9A240-BDA6-4525-B95E-41E70455BE2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27419" y="-154537"/>
            <a:ext cx="2881395" cy="2881395"/>
          </a:xfrm>
          <a:prstGeom prst="ellipse">
            <a:avLst/>
          </a:prstGeom>
          <a:ln>
            <a:noFill/>
          </a:ln>
        </p:spPr>
      </p:pic>
      <p:sp>
        <p:nvSpPr>
          <p:cNvPr id="2" name="Text Placeholder 4">
            <a:extLst>
              <a:ext uri="{FF2B5EF4-FFF2-40B4-BE49-F238E27FC236}">
                <a16:creationId xmlns:a16="http://schemas.microsoft.com/office/drawing/2014/main" id="{3D59AC4E-3806-7127-653E-D836E1E4166F}"/>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65A5B2C-4684-B6E2-B6A6-35DE402EBEE6}"/>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2076931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PAGE IMAGE TOP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34">
            <a:extLst>
              <a:ext uri="{FF2B5EF4-FFF2-40B4-BE49-F238E27FC236}">
                <a16:creationId xmlns:a16="http://schemas.microsoft.com/office/drawing/2014/main" id="{E0B88EC2-4601-43F2-A32E-E9DD6E98818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56447" y="-171005"/>
            <a:ext cx="2881395" cy="2881395"/>
          </a:xfrm>
          <a:prstGeom prst="ellipse">
            <a:avLst/>
          </a:prstGeom>
          <a:ln>
            <a:noFill/>
          </a:ln>
        </p:spPr>
      </p:pic>
      <p:sp>
        <p:nvSpPr>
          <p:cNvPr id="2" name="Text Placeholder 4">
            <a:extLst>
              <a:ext uri="{FF2B5EF4-FFF2-40B4-BE49-F238E27FC236}">
                <a16:creationId xmlns:a16="http://schemas.microsoft.com/office/drawing/2014/main" id="{F9E8E79C-94DF-5ACB-9CA6-D9369BE764FB}"/>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EA65654-E8EB-3DAB-BEAA-80CC561305E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9438953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PAGE IMAGE TOP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55" descr="A picture containing person, people, close&#10;&#10;Description automatically generated">
            <a:extLst>
              <a:ext uri="{FF2B5EF4-FFF2-40B4-BE49-F238E27FC236}">
                <a16:creationId xmlns:a16="http://schemas.microsoft.com/office/drawing/2014/main" id="{A053A14F-3154-48C1-95DE-448E4809B2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17203" y="-211669"/>
            <a:ext cx="2945028" cy="2945028"/>
          </a:xfrm>
          <a:prstGeom prst="ellipse">
            <a:avLst/>
          </a:prstGeom>
          <a:ln>
            <a:noFill/>
          </a:ln>
        </p:spPr>
      </p:pic>
      <p:sp>
        <p:nvSpPr>
          <p:cNvPr id="2" name="Text Placeholder 4">
            <a:extLst>
              <a:ext uri="{FF2B5EF4-FFF2-40B4-BE49-F238E27FC236}">
                <a16:creationId xmlns:a16="http://schemas.microsoft.com/office/drawing/2014/main" id="{2A2B4C7B-0CCD-A517-9DFD-4D0DD12C4534}"/>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F13BFC1-8708-CD35-EE95-943C74527C5E}"/>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7721151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PAGE IMAGE TOP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61">
            <a:extLst>
              <a:ext uri="{FF2B5EF4-FFF2-40B4-BE49-F238E27FC236}">
                <a16:creationId xmlns:a16="http://schemas.microsoft.com/office/drawing/2014/main" id="{08E6D46D-DA71-472B-A63A-5E527CCE27C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17338" y="-196343"/>
            <a:ext cx="2941233" cy="2941233"/>
          </a:xfrm>
          <a:prstGeom prst="ellipse">
            <a:avLst/>
          </a:prstGeom>
          <a:ln>
            <a:noFill/>
          </a:ln>
        </p:spPr>
      </p:pic>
      <p:sp>
        <p:nvSpPr>
          <p:cNvPr id="2" name="Text Placeholder 4">
            <a:extLst>
              <a:ext uri="{FF2B5EF4-FFF2-40B4-BE49-F238E27FC236}">
                <a16:creationId xmlns:a16="http://schemas.microsoft.com/office/drawing/2014/main" id="{6F17382C-2B9B-FBCD-45D9-748CAA94F9DD}"/>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95CD79A-41FE-D1A4-50EB-79B5768F4C3F}"/>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23735699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PAGE IMAGE TOP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66">
            <a:extLst>
              <a:ext uri="{FF2B5EF4-FFF2-40B4-BE49-F238E27FC236}">
                <a16:creationId xmlns:a16="http://schemas.microsoft.com/office/drawing/2014/main" id="{74F869F0-BACE-41C7-A322-B09511CD34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31485" y="-145618"/>
            <a:ext cx="2881395" cy="2881395"/>
          </a:xfrm>
          <a:prstGeom prst="ellipse">
            <a:avLst/>
          </a:prstGeom>
          <a:ln>
            <a:noFill/>
          </a:ln>
        </p:spPr>
      </p:pic>
      <p:sp>
        <p:nvSpPr>
          <p:cNvPr id="2" name="Text Placeholder 4">
            <a:extLst>
              <a:ext uri="{FF2B5EF4-FFF2-40B4-BE49-F238E27FC236}">
                <a16:creationId xmlns:a16="http://schemas.microsoft.com/office/drawing/2014/main" id="{2C22D26E-9BC9-152A-A1A8-F6BE39BC5017}"/>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4D98848-CF9A-5677-1730-694ED6AAD789}"/>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374359310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PAGE IMAGE TOP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1" descr="A picture containing person, ground, outdoor&#10;&#10;Description automatically generated">
            <a:extLst>
              <a:ext uri="{FF2B5EF4-FFF2-40B4-BE49-F238E27FC236}">
                <a16:creationId xmlns:a16="http://schemas.microsoft.com/office/drawing/2014/main" id="{223E0373-AB26-4C70-8293-B94DD4302C8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3648" y="-174605"/>
            <a:ext cx="2881395" cy="2881395"/>
          </a:xfrm>
          <a:prstGeom prst="ellipse">
            <a:avLst/>
          </a:prstGeom>
          <a:ln>
            <a:noFill/>
          </a:ln>
        </p:spPr>
      </p:pic>
      <p:sp>
        <p:nvSpPr>
          <p:cNvPr id="2" name="Text Placeholder 4">
            <a:extLst>
              <a:ext uri="{FF2B5EF4-FFF2-40B4-BE49-F238E27FC236}">
                <a16:creationId xmlns:a16="http://schemas.microsoft.com/office/drawing/2014/main" id="{604926F4-F1D8-5F88-6EC4-D0099F1AEFC0}"/>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A32F3E8-6D75-FE9E-75BD-A0FE56EDE388}"/>
              </a:ext>
            </a:extLst>
          </p:cNvPr>
          <p:cNvSpPr>
            <a:spLocks noGrp="1"/>
          </p:cNvSpPr>
          <p:nvPr>
            <p:ph type="sldNum" sz="quarter" idx="12"/>
          </p:nvPr>
        </p:nvSpPr>
        <p:spPr/>
        <p:txBody>
          <a:bodyPr/>
          <a:lstStyle/>
          <a:p>
            <a:fld id="{0674757E-06C4-4259-8159-64C08476399D}" type="slidenum">
              <a:rPr lang="nl-NL" smtClean="0"/>
              <a:pPr/>
              <a:t>‹#›</a:t>
            </a:fld>
            <a:endParaRPr lang="nl-NL"/>
          </a:p>
        </p:txBody>
      </p:sp>
    </p:spTree>
    <p:extLst>
      <p:ext uri="{BB962C8B-B14F-4D97-AF65-F5344CB8AC3E}">
        <p14:creationId xmlns:p14="http://schemas.microsoft.com/office/powerpoint/2010/main" val="12341434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theme" Target="../theme/theme10.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76.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78.xml"/><Relationship Id="rId1" Type="http://schemas.openxmlformats.org/officeDocument/2006/relationships/slideLayout" Target="../slideLayouts/slideLayout17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theme" Target="../theme/theme1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theme" Target="../theme/theme2.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theme" Target="../theme/theme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theme" Target="../theme/theme6.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theme" Target="../theme/theme7.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theme" Target="../theme/theme8.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theme" Target="../theme/theme9.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54122ED7-1914-434F-9883-AE5935302A81}"/>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2253695231"/>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825" r:id="rId3"/>
    <p:sldLayoutId id="2147483826" r:id="rId4"/>
    <p:sldLayoutId id="2147483874" r:id="rId5"/>
    <p:sldLayoutId id="2147483876" r:id="rId6"/>
    <p:sldLayoutId id="2147483873" r:id="rId7"/>
    <p:sldLayoutId id="2147483875" r:id="rId8"/>
    <p:sldLayoutId id="2147483924" r:id="rId9"/>
    <p:sldLayoutId id="2147483925" r:id="rId10"/>
    <p:sldLayoutId id="2147483926" r:id="rId11"/>
    <p:sldLayoutId id="2147483927" r:id="rId12"/>
    <p:sldLayoutId id="2147483928" r:id="rId13"/>
    <p:sldLayoutId id="2147483976" r:id="rId14"/>
    <p:sldLayoutId id="2147483974" r:id="rId15"/>
    <p:sldLayoutId id="2147483975"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717D016D-D214-4C87-8FC7-68B10373FDFE}"/>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EF9E1EED-2422-00B3-4063-B068F8D1E758}"/>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1868986140"/>
      </p:ext>
    </p:extLst>
  </p:cSld>
  <p:clrMap bg1="lt1" tx1="dk1" bg2="lt2" tx2="dk2" accent1="accent1" accent2="accent2" accent3="accent3" accent4="accent4" accent5="accent5" accent6="accent6" hlink="hlink" folHlink="folHlink"/>
  <p:sldLayoutIdLst>
    <p:sldLayoutId id="2147483816" r:id="rId1"/>
    <p:sldLayoutId id="2147483820" r:id="rId2"/>
    <p:sldLayoutId id="2147483821" r:id="rId3"/>
    <p:sldLayoutId id="2147483867" r:id="rId4"/>
    <p:sldLayoutId id="2147483868" r:id="rId5"/>
    <p:sldLayoutId id="2147483869" r:id="rId6"/>
    <p:sldLayoutId id="2147483915" r:id="rId7"/>
    <p:sldLayoutId id="2147483916" r:id="rId8"/>
    <p:sldLayoutId id="2147483917" r:id="rId9"/>
    <p:sldLayoutId id="2147483918" r:id="rId10"/>
    <p:sldLayoutId id="2147483997" r:id="rId11"/>
    <p:sldLayoutId id="2147483998" r:id="rId12"/>
    <p:sldLayoutId id="2147483999" r:id="rId13"/>
    <p:sldLayoutId id="2147484000" r:id="rId14"/>
    <p:sldLayoutId id="2147484004" r:id="rId15"/>
    <p:sldLayoutId id="2147484001" r:id="rId16"/>
    <p:sldLayoutId id="2147484002" r:id="rId17"/>
    <p:sldLayoutId id="2147484003" r:id="rId18"/>
    <p:sldLayoutId id="2147483822" r:id="rId19"/>
    <p:sldLayoutId id="2147483817" r:id="rId20"/>
    <p:sldLayoutId id="2147483819" r:id="rId21"/>
    <p:sldLayoutId id="2147484029" r:id="rId2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DDE07C-1CD1-9C40-2F0C-982666502A67}"/>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452284608"/>
      </p:ext>
    </p:extLst>
  </p:cSld>
  <p:clrMap bg1="lt1" tx1="dk1" bg2="lt2" tx2="dk2" accent1="accent1" accent2="accent2" accent3="accent3" accent4="accent4" accent5="accent5" accent6="accent6" hlink="hlink" folHlink="folHlink"/>
  <p:sldLayoutIdLst>
    <p:sldLayoutId id="2147484032" r:id="rId1"/>
    <p:sldLayoutId id="2147484040" r:id="rId2"/>
    <p:sldLayoutId id="2147484042"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68357D-233D-5B42-6681-B5C78E9A1DE1}"/>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346234790"/>
      </p:ext>
    </p:extLst>
  </p:cSld>
  <p:clrMap bg1="lt1" tx1="dk1" bg2="lt2" tx2="dk2" accent1="accent1" accent2="accent2" accent3="accent3" accent4="accent4" accent5="accent5" accent6="accent6" hlink="hlink" folHlink="folHlink"/>
  <p:sldLayoutIdLst>
    <p:sldLayoutId id="2147484037" r:id="rId1"/>
    <p:sldLayoutId id="214748404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A87EE1C9-E666-4B50-B7DD-2BDF88DB411D}"/>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279137213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835" r:id="rId3"/>
    <p:sldLayoutId id="2147483834" r:id="rId4"/>
    <p:sldLayoutId id="2147483877" r:id="rId5"/>
    <p:sldLayoutId id="2147483878" r:id="rId6"/>
    <p:sldLayoutId id="2147483879" r:id="rId7"/>
    <p:sldLayoutId id="2147483880" r:id="rId8"/>
    <p:sldLayoutId id="2147483937" r:id="rId9"/>
    <p:sldLayoutId id="2147483938" r:id="rId10"/>
    <p:sldLayoutId id="2147483939" r:id="rId11"/>
    <p:sldLayoutId id="2147483940" r:id="rId12"/>
    <p:sldLayoutId id="2147483941" r:id="rId13"/>
    <p:sldLayoutId id="2147483977" r:id="rId14"/>
    <p:sldLayoutId id="2147483978" r:id="rId15"/>
    <p:sldLayoutId id="214748397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56442D-8FAD-B7CA-6398-7D55340BCA09}"/>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323497015"/>
      </p:ext>
    </p:extLst>
  </p:cSld>
  <p:clrMap bg1="lt1" tx1="dk1" bg2="lt2" tx2="dk2" accent1="accent1" accent2="accent2" accent3="accent3" accent4="accent4" accent5="accent5" accent6="accent6" hlink="hlink" folHlink="folHlink"/>
  <p:sldLayoutIdLst>
    <p:sldLayoutId id="2147484034" r:id="rId1"/>
    <p:sldLayoutId id="2147484038" r:id="rId2"/>
    <p:sldLayoutId id="2147484039" r:id="rId3"/>
    <p:sldLayoutId id="214748403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C52FD201-0153-4BF5-868F-D4D67620383C}"/>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12A67AF5-3A24-EB2F-B981-10000E73CBAE}"/>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606287967"/>
      </p:ext>
    </p:extLst>
  </p:cSld>
  <p:clrMap bg1="lt1" tx1="dk1" bg2="lt2" tx2="dk2" accent1="accent1" accent2="accent2" accent3="accent3" accent4="accent4" accent5="accent5" accent6="accent6" hlink="hlink" folHlink="folHlink"/>
  <p:sldLayoutIdLst>
    <p:sldLayoutId id="2147483742" r:id="rId1"/>
    <p:sldLayoutId id="2147483814" r:id="rId2"/>
    <p:sldLayoutId id="2147483815" r:id="rId3"/>
    <p:sldLayoutId id="2147483833" r:id="rId4"/>
    <p:sldLayoutId id="2147483827" r:id="rId5"/>
    <p:sldLayoutId id="2147483828" r:id="rId6"/>
    <p:sldLayoutId id="2147483829" r:id="rId7"/>
    <p:sldLayoutId id="2147483881" r:id="rId8"/>
    <p:sldLayoutId id="2147483882" r:id="rId9"/>
    <p:sldLayoutId id="2147483883" r:id="rId10"/>
    <p:sldLayoutId id="2147483884"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769"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1919A812-8BC6-45B6-AC1F-C0396845F39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53A2A764-8D8A-FE6E-5226-45BDC932E3AD}"/>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727954729"/>
      </p:ext>
    </p:extLst>
  </p:cSld>
  <p:clrMap bg1="lt1" tx1="dk1" bg2="lt2" tx2="dk2" accent1="accent1" accent2="accent2" accent3="accent3" accent4="accent4" accent5="accent5" accent6="accent6" hlink="hlink" folHlink="folHlink"/>
  <p:sldLayoutIdLst>
    <p:sldLayoutId id="2147483734" r:id="rId1"/>
    <p:sldLayoutId id="2147483773" r:id="rId2"/>
    <p:sldLayoutId id="2147483774" r:id="rId3"/>
    <p:sldLayoutId id="2147484017" r:id="rId4"/>
    <p:sldLayoutId id="2147484018" r:id="rId5"/>
    <p:sldLayoutId id="2147484019" r:id="rId6"/>
    <p:sldLayoutId id="2147484021" r:id="rId7"/>
    <p:sldLayoutId id="2147484022" r:id="rId8"/>
    <p:sldLayoutId id="2147484023" r:id="rId9"/>
    <p:sldLayoutId id="2147484026" r:id="rId10"/>
    <p:sldLayoutId id="214748402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0E8F3440-0754-4B0B-9851-5EFDBEFA1ED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30270A72-7065-29F9-3CBE-DFA0DEA3E681}"/>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3687066805"/>
      </p:ext>
    </p:extLst>
  </p:cSld>
  <p:clrMap bg1="lt1" tx1="dk1" bg2="lt2" tx2="dk2" accent1="accent1" accent2="accent2" accent3="accent3" accent4="accent4" accent5="accent5" accent6="accent6" hlink="hlink" folHlink="folHlink"/>
  <p:sldLayoutIdLst>
    <p:sldLayoutId id="2147483745" r:id="rId1"/>
    <p:sldLayoutId id="2147483776" r:id="rId2"/>
    <p:sldLayoutId id="2147483781" r:id="rId3"/>
    <p:sldLayoutId id="2147483839" r:id="rId4"/>
    <p:sldLayoutId id="2147483830" r:id="rId5"/>
    <p:sldLayoutId id="2147483831" r:id="rId6"/>
    <p:sldLayoutId id="2147483832" r:id="rId7"/>
    <p:sldLayoutId id="2147483889" r:id="rId8"/>
    <p:sldLayoutId id="2147483886" r:id="rId9"/>
    <p:sldLayoutId id="2147483887" r:id="rId10"/>
    <p:sldLayoutId id="2147483888"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78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A06B67D6-D2AA-4CB5-BB14-6A217937A716}"/>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F5B0B268-AC95-6BF6-E29B-174AAE26A00E}"/>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3009645139"/>
      </p:ext>
    </p:extLst>
  </p:cSld>
  <p:clrMap bg1="lt1" tx1="dk1" bg2="lt2" tx2="dk2" accent1="accent1" accent2="accent2" accent3="accent3" accent4="accent4" accent5="accent5" accent6="accent6" hlink="hlink" folHlink="folHlink"/>
  <p:sldLayoutIdLst>
    <p:sldLayoutId id="2147483746" r:id="rId1"/>
    <p:sldLayoutId id="2147483841" r:id="rId2"/>
    <p:sldLayoutId id="2147483842" r:id="rId3"/>
    <p:sldLayoutId id="2147483840" r:id="rId4"/>
    <p:sldLayoutId id="2147483843" r:id="rId5"/>
    <p:sldLayoutId id="2147483803" r:id="rId6"/>
    <p:sldLayoutId id="2147483802" r:id="rId7"/>
    <p:sldLayoutId id="2147483895" r:id="rId8"/>
    <p:sldLayoutId id="2147483896" r:id="rId9"/>
    <p:sldLayoutId id="2147483897" r:id="rId10"/>
    <p:sldLayoutId id="2147483898"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804"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5BC2915C-91CA-41FD-ADEC-0598F2C5F120}"/>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430F1D4F-83C0-230B-CF00-12B2EC4F56B4}"/>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1369645148"/>
      </p:ext>
    </p:extLst>
  </p:cSld>
  <p:clrMap bg1="lt1" tx1="dk1" bg2="lt2" tx2="dk2" accent1="accent1" accent2="accent2" accent3="accent3" accent4="accent4" accent5="accent5" accent6="accent6" hlink="hlink" folHlink="folHlink"/>
  <p:sldLayoutIdLst>
    <p:sldLayoutId id="2147483785" r:id="rId1"/>
    <p:sldLayoutId id="2147483805" r:id="rId2"/>
    <p:sldLayoutId id="2147483806" r:id="rId3"/>
    <p:sldLayoutId id="2147483845" r:id="rId4"/>
    <p:sldLayoutId id="2147483846" r:id="rId5"/>
    <p:sldLayoutId id="2147483847" r:id="rId6"/>
    <p:sldLayoutId id="2147483848" r:id="rId7"/>
    <p:sldLayoutId id="2147483900" r:id="rId8"/>
    <p:sldLayoutId id="2147483901" r:id="rId9"/>
    <p:sldLayoutId id="2147483902" r:id="rId10"/>
    <p:sldLayoutId id="2147483903" r:id="rId11"/>
    <p:sldLayoutId id="2147483963" r:id="rId12"/>
    <p:sldLayoutId id="2147483967" r:id="rId13"/>
    <p:sldLayoutId id="2147483968" r:id="rId14"/>
    <p:sldLayoutId id="2147483969" r:id="rId15"/>
    <p:sldLayoutId id="2147483970" r:id="rId16"/>
    <p:sldLayoutId id="2147483964" r:id="rId17"/>
    <p:sldLayoutId id="2147483965" r:id="rId18"/>
    <p:sldLayoutId id="2147483966" r:id="rId19"/>
    <p:sldLayoutId id="2147483807"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F9674E2C-1072-4356-A07B-0A32BBDF9221}"/>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8DE7BE2C-1D6E-4105-6186-DC204AAE6FC8}"/>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1560827226"/>
      </p:ext>
    </p:extLst>
  </p:cSld>
  <p:clrMap bg1="lt1" tx1="dk1" bg2="lt2" tx2="dk2" accent1="accent1" accent2="accent2" accent3="accent3" accent4="accent4" accent5="accent5" accent6="accent6" hlink="hlink" folHlink="folHlink"/>
  <p:sldLayoutIdLst>
    <p:sldLayoutId id="2147483748" r:id="rId1"/>
    <p:sldLayoutId id="2147483808" r:id="rId2"/>
    <p:sldLayoutId id="2147483809" r:id="rId3"/>
    <p:sldLayoutId id="2147483856" r:id="rId4"/>
    <p:sldLayoutId id="2147483853" r:id="rId5"/>
    <p:sldLayoutId id="2147483854" r:id="rId6"/>
    <p:sldLayoutId id="2147483855" r:id="rId7"/>
    <p:sldLayoutId id="2147483905" r:id="rId8"/>
    <p:sldLayoutId id="2147483906" r:id="rId9"/>
    <p:sldLayoutId id="2147483907" r:id="rId10"/>
    <p:sldLayoutId id="2147483908" r:id="rId11"/>
    <p:sldLayoutId id="2147483989" r:id="rId12"/>
    <p:sldLayoutId id="2147483990" r:id="rId13"/>
    <p:sldLayoutId id="2147483991" r:id="rId14"/>
    <p:sldLayoutId id="2147483992" r:id="rId15"/>
    <p:sldLayoutId id="2147483996" r:id="rId16"/>
    <p:sldLayoutId id="2147483993" r:id="rId17"/>
    <p:sldLayoutId id="2147483994" r:id="rId18"/>
    <p:sldLayoutId id="2147483995" r:id="rId19"/>
    <p:sldLayoutId id="214748381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D40E5C91-D701-4DF3-8EA8-6487D751F11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F5103ACD-3202-1E5A-DA25-52EDE19ED385}"/>
              </a:ext>
            </a:extLst>
          </p:cNvPr>
          <p:cNvSpPr>
            <a:spLocks noGrp="1"/>
          </p:cNvSpPr>
          <p:nvPr>
            <p:ph type="sldNum" sz="quarter" idx="4"/>
          </p:nvPr>
        </p:nvSpPr>
        <p:spPr>
          <a:xfrm>
            <a:off x="9440174"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0674757E-06C4-4259-8159-64C08476399D}" type="slidenum">
              <a:rPr lang="nl-NL" smtClean="0"/>
              <a:pPr/>
              <a:t>‹#›</a:t>
            </a:fld>
            <a:endParaRPr lang="nl-NL"/>
          </a:p>
        </p:txBody>
      </p:sp>
    </p:spTree>
    <p:extLst>
      <p:ext uri="{BB962C8B-B14F-4D97-AF65-F5344CB8AC3E}">
        <p14:creationId xmlns:p14="http://schemas.microsoft.com/office/powerpoint/2010/main" val="380743489"/>
      </p:ext>
    </p:extLst>
  </p:cSld>
  <p:clrMap bg1="lt1" tx1="dk1" bg2="lt2" tx2="dk2" accent1="accent1" accent2="accent2" accent3="accent3" accent4="accent4" accent5="accent5" accent6="accent6" hlink="hlink" folHlink="folHlink"/>
  <p:sldLayoutIdLst>
    <p:sldLayoutId id="2147483799" r:id="rId1"/>
    <p:sldLayoutId id="2147483811" r:id="rId2"/>
    <p:sldLayoutId id="2147483812" r:id="rId3"/>
    <p:sldLayoutId id="2147483861" r:id="rId4"/>
    <p:sldLayoutId id="2147483858" r:id="rId5"/>
    <p:sldLayoutId id="2147483859" r:id="rId6"/>
    <p:sldLayoutId id="2147483860" r:id="rId7"/>
    <p:sldLayoutId id="2147483910" r:id="rId8"/>
    <p:sldLayoutId id="2147483911" r:id="rId9"/>
    <p:sldLayoutId id="2147483912" r:id="rId10"/>
    <p:sldLayoutId id="2147483913"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813"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77.png"/><Relationship Id="rId1" Type="http://schemas.openxmlformats.org/officeDocument/2006/relationships/slideLayout" Target="../slideLayouts/slideLayout131.xml"/></Relationships>
</file>

<file path=ppt/slides/_rels/slide18.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72.xml"/></Relationships>
</file>

<file path=ppt/slides/_rels/slide1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3.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8" Type="http://schemas.openxmlformats.org/officeDocument/2006/relationships/image" Target="../media/image183.jpeg"/><Relationship Id="rId3" Type="http://schemas.openxmlformats.org/officeDocument/2006/relationships/image" Target="../media/image178.png"/><Relationship Id="rId7" Type="http://schemas.openxmlformats.org/officeDocument/2006/relationships/image" Target="../media/image182.png"/><Relationship Id="rId2" Type="http://schemas.openxmlformats.org/officeDocument/2006/relationships/image" Target="../media/image177.png"/><Relationship Id="rId1" Type="http://schemas.openxmlformats.org/officeDocument/2006/relationships/slideLayout" Target="../slideLayouts/slideLayout50.xml"/><Relationship Id="rId6" Type="http://schemas.openxmlformats.org/officeDocument/2006/relationships/image" Target="../media/image181.jpeg"/><Relationship Id="rId5" Type="http://schemas.openxmlformats.org/officeDocument/2006/relationships/image" Target="../media/image180.jpeg"/><Relationship Id="rId10" Type="http://schemas.openxmlformats.org/officeDocument/2006/relationships/image" Target="../media/image185.png"/><Relationship Id="rId4" Type="http://schemas.openxmlformats.org/officeDocument/2006/relationships/image" Target="../media/image179.jpeg"/><Relationship Id="rId9" Type="http://schemas.openxmlformats.org/officeDocument/2006/relationships/image" Target="../media/image184.jpeg"/></Relationships>
</file>

<file path=ppt/slides/_rels/slide8.xml.rels><?xml version="1.0" encoding="UTF-8" standalone="yes"?>
<Relationships xmlns="http://schemas.openxmlformats.org/package/2006/relationships"><Relationship Id="rId3" Type="http://schemas.openxmlformats.org/officeDocument/2006/relationships/hyperlink" Target="https://www.weforum.org/reports/the-future-of-jobs-report-2023/infographics" TargetMode="External"/><Relationship Id="rId2" Type="http://schemas.openxmlformats.org/officeDocument/2006/relationships/hyperlink" Target="https://www.weforum.org/reports/" TargetMode="Externa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EEB54-5B76-4306-D25A-4C81DBFA028A}"/>
              </a:ext>
            </a:extLst>
          </p:cNvPr>
          <p:cNvSpPr>
            <a:spLocks noGrp="1"/>
          </p:cNvSpPr>
          <p:nvPr>
            <p:ph type="title"/>
          </p:nvPr>
        </p:nvSpPr>
        <p:spPr/>
        <p:txBody>
          <a:bodyPr/>
          <a:lstStyle/>
          <a:p>
            <a:r>
              <a:rPr lang="nl-NL"/>
              <a:t>CAREER TALKS</a:t>
            </a:r>
          </a:p>
        </p:txBody>
      </p:sp>
      <p:sp>
        <p:nvSpPr>
          <p:cNvPr id="3" name="Text Placeholder 2">
            <a:extLst>
              <a:ext uri="{FF2B5EF4-FFF2-40B4-BE49-F238E27FC236}">
                <a16:creationId xmlns:a16="http://schemas.microsoft.com/office/drawing/2014/main" id="{C01AD43D-F824-08C8-5624-31D236224EAD}"/>
              </a:ext>
            </a:extLst>
          </p:cNvPr>
          <p:cNvSpPr>
            <a:spLocks noGrp="1"/>
          </p:cNvSpPr>
          <p:nvPr>
            <p:ph type="body" sz="quarter" idx="10"/>
          </p:nvPr>
        </p:nvSpPr>
        <p:spPr>
          <a:xfrm>
            <a:off x="5376965" y="6068292"/>
            <a:ext cx="6543563" cy="789708"/>
          </a:xfrm>
        </p:spPr>
        <p:txBody>
          <a:bodyPr>
            <a:normAutofit fontScale="92500" lnSpcReduction="10000"/>
          </a:bodyPr>
          <a:lstStyle/>
          <a:p>
            <a:r>
              <a:rPr lang="nl-NL"/>
              <a:t>YOUR TRAITS AND SKILLS FOR CAREER</a:t>
            </a:r>
            <a:br>
              <a:rPr lang="nl-NL"/>
            </a:br>
            <a:r>
              <a:rPr lang="nl-NL"/>
              <a:t>DEVELOPMENT -  </a:t>
            </a:r>
            <a:r>
              <a:rPr lang="nl-NL">
                <a:solidFill>
                  <a:schemeClr val="accent4">
                    <a:lumMod val="75000"/>
                  </a:schemeClr>
                </a:solidFill>
              </a:rPr>
              <a:t>CLASSROOM</a:t>
            </a:r>
          </a:p>
        </p:txBody>
      </p:sp>
    </p:spTree>
    <p:extLst>
      <p:ext uri="{BB962C8B-B14F-4D97-AF65-F5344CB8AC3E}">
        <p14:creationId xmlns:p14="http://schemas.microsoft.com/office/powerpoint/2010/main" val="2338473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6D82C9-EE77-756A-04D8-6907B58835F9}"/>
              </a:ext>
            </a:extLst>
          </p:cNvPr>
          <p:cNvSpPr>
            <a:spLocks noGrp="1"/>
          </p:cNvSpPr>
          <p:nvPr>
            <p:ph type="title"/>
          </p:nvPr>
        </p:nvSpPr>
        <p:spPr>
          <a:xfrm>
            <a:off x="163534" y="62654"/>
            <a:ext cx="9211374" cy="706438"/>
          </a:xfrm>
        </p:spPr>
        <p:txBody>
          <a:bodyPr>
            <a:normAutofit/>
          </a:bodyPr>
          <a:lstStyle/>
          <a:p>
            <a:r>
              <a:rPr lang="nl-NL"/>
              <a:t>PERSONALITY TRAITS &amp; TRANSFERABLE SKILLS</a:t>
            </a:r>
          </a:p>
        </p:txBody>
      </p:sp>
      <p:sp>
        <p:nvSpPr>
          <p:cNvPr id="5" name="Text Placeholder 4">
            <a:extLst>
              <a:ext uri="{FF2B5EF4-FFF2-40B4-BE49-F238E27FC236}">
                <a16:creationId xmlns:a16="http://schemas.microsoft.com/office/drawing/2014/main" id="{6395935A-F99E-48DC-CB26-617B72E72650}"/>
              </a:ext>
            </a:extLst>
          </p:cNvPr>
          <p:cNvSpPr>
            <a:spLocks noGrp="1"/>
          </p:cNvSpPr>
          <p:nvPr>
            <p:ph type="body" sz="quarter" idx="11"/>
          </p:nvPr>
        </p:nvSpPr>
        <p:spPr>
          <a:xfrm>
            <a:off x="764505" y="2158097"/>
            <a:ext cx="8610403" cy="4218590"/>
          </a:xfrm>
        </p:spPr>
        <p:txBody>
          <a:bodyPr/>
          <a:lstStyle/>
          <a:p>
            <a:r>
              <a:rPr lang="en-US" sz="2000" b="0"/>
              <a:t>A personality trait is quite similar to a transferable skill, but there is a slight difference.</a:t>
            </a:r>
          </a:p>
          <a:p>
            <a:r>
              <a:rPr lang="en-US" sz="2000" b="0"/>
              <a:t>A personality trait relates to your character as a person: how you are, and the attitude related to it. A personality trait is something that we developed in life, through our upbringing and our experiences. It can be changed but that takes quite some time and effort.</a:t>
            </a:r>
          </a:p>
          <a:p>
            <a:r>
              <a:rPr lang="en-US" sz="2000" b="0"/>
              <a:t>A transferable (or soft) skill on the other hand is very much learnt behavior and therefore can be improved and developed. It can help you at work or in life in a variety of situations. You can improve your communication skills and team-work skills.</a:t>
            </a:r>
          </a:p>
          <a:p>
            <a:r>
              <a:rPr lang="en-US" sz="2000" b="0"/>
              <a:t>Your personality may indicate what job you may like to do but your “Soft Skills” define how good you may be at it.</a:t>
            </a:r>
          </a:p>
          <a:p>
            <a:endParaRPr lang="nl-NL" sz="2000" b="0"/>
          </a:p>
        </p:txBody>
      </p:sp>
      <p:sp>
        <p:nvSpPr>
          <p:cNvPr id="2" name="Slide Number Placeholder 1">
            <a:extLst>
              <a:ext uri="{FF2B5EF4-FFF2-40B4-BE49-F238E27FC236}">
                <a16:creationId xmlns:a16="http://schemas.microsoft.com/office/drawing/2014/main" id="{DA01D62F-F020-DBD3-B929-9EA41F890E36}"/>
              </a:ext>
            </a:extLst>
          </p:cNvPr>
          <p:cNvSpPr>
            <a:spLocks noGrp="1"/>
          </p:cNvSpPr>
          <p:nvPr>
            <p:ph type="sldNum" sz="quarter" idx="12"/>
          </p:nvPr>
        </p:nvSpPr>
        <p:spPr/>
        <p:txBody>
          <a:bodyPr/>
          <a:lstStyle/>
          <a:p>
            <a:fld id="{0674757E-06C4-4259-8159-64C08476399D}" type="slidenum">
              <a:rPr lang="nl-NL" smtClean="0"/>
              <a:pPr/>
              <a:t>10</a:t>
            </a:fld>
            <a:endParaRPr lang="nl-NL"/>
          </a:p>
        </p:txBody>
      </p:sp>
    </p:spTree>
    <p:extLst>
      <p:ext uri="{BB962C8B-B14F-4D97-AF65-F5344CB8AC3E}">
        <p14:creationId xmlns:p14="http://schemas.microsoft.com/office/powerpoint/2010/main" val="1466941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04628E-42CE-0FC7-E5EB-9D03FD77AB3E}"/>
              </a:ext>
            </a:extLst>
          </p:cNvPr>
          <p:cNvSpPr>
            <a:spLocks noGrp="1"/>
          </p:cNvSpPr>
          <p:nvPr>
            <p:ph type="title"/>
          </p:nvPr>
        </p:nvSpPr>
        <p:spPr/>
        <p:txBody>
          <a:bodyPr/>
          <a:lstStyle/>
          <a:p>
            <a:r>
              <a:rPr lang="nl-NL"/>
              <a:t>PERSONALITY TRAITS</a:t>
            </a:r>
          </a:p>
        </p:txBody>
      </p:sp>
      <p:sp>
        <p:nvSpPr>
          <p:cNvPr id="5" name="Text Placeholder 4">
            <a:extLst>
              <a:ext uri="{FF2B5EF4-FFF2-40B4-BE49-F238E27FC236}">
                <a16:creationId xmlns:a16="http://schemas.microsoft.com/office/drawing/2014/main" id="{7B832A12-736A-03B0-77FC-37283DCDB9B3}"/>
              </a:ext>
            </a:extLst>
          </p:cNvPr>
          <p:cNvSpPr>
            <a:spLocks noGrp="1"/>
          </p:cNvSpPr>
          <p:nvPr>
            <p:ph type="body" sz="quarter" idx="11"/>
          </p:nvPr>
        </p:nvSpPr>
        <p:spPr>
          <a:xfrm>
            <a:off x="3961657" y="1893455"/>
            <a:ext cx="7278170" cy="4396897"/>
          </a:xfrm>
        </p:spPr>
        <p:txBody>
          <a:bodyPr/>
          <a:lstStyle/>
          <a:p>
            <a:r>
              <a:rPr lang="en-US" sz="2400" b="0"/>
              <a:t>There are both positive and negative personality traits. </a:t>
            </a:r>
          </a:p>
          <a:p>
            <a:r>
              <a:rPr lang="en-US" sz="2400" b="0"/>
              <a:t>Positive personality traits can be things like helpfulness, optimism, honesty, friendliness, and responsibility.</a:t>
            </a:r>
          </a:p>
          <a:p>
            <a:r>
              <a:rPr lang="en-US" sz="2400" b="0"/>
              <a:t>Negative personality traits can be potentially career limiting. Things like laziness, arrogance, recklessness, disrespect, and impatience.</a:t>
            </a:r>
          </a:p>
          <a:p>
            <a:r>
              <a:rPr lang="en-US" sz="2400" b="0"/>
              <a:t>Nevertheless, these can very well be part of us, so we must be aware of those negative personality traits. We must recognize them and make sure that they don’t get in the way of our goals.</a:t>
            </a:r>
          </a:p>
          <a:p>
            <a:endParaRPr lang="nl-NL" sz="2400" b="0"/>
          </a:p>
        </p:txBody>
      </p:sp>
      <p:sp>
        <p:nvSpPr>
          <p:cNvPr id="2" name="Slide Number Placeholder 1">
            <a:extLst>
              <a:ext uri="{FF2B5EF4-FFF2-40B4-BE49-F238E27FC236}">
                <a16:creationId xmlns:a16="http://schemas.microsoft.com/office/drawing/2014/main" id="{8062A736-AF71-F619-D452-FCD1340B3957}"/>
              </a:ext>
            </a:extLst>
          </p:cNvPr>
          <p:cNvSpPr>
            <a:spLocks noGrp="1"/>
          </p:cNvSpPr>
          <p:nvPr>
            <p:ph type="sldNum" sz="quarter" idx="12"/>
          </p:nvPr>
        </p:nvSpPr>
        <p:spPr/>
        <p:txBody>
          <a:bodyPr/>
          <a:lstStyle/>
          <a:p>
            <a:fld id="{0674757E-06C4-4259-8159-64C08476399D}" type="slidenum">
              <a:rPr lang="nl-NL" smtClean="0"/>
              <a:pPr/>
              <a:t>11</a:t>
            </a:fld>
            <a:endParaRPr lang="nl-NL"/>
          </a:p>
        </p:txBody>
      </p:sp>
    </p:spTree>
    <p:extLst>
      <p:ext uri="{BB962C8B-B14F-4D97-AF65-F5344CB8AC3E}">
        <p14:creationId xmlns:p14="http://schemas.microsoft.com/office/powerpoint/2010/main" val="36555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6">
            <a:extLst>
              <a:ext uri="{FF2B5EF4-FFF2-40B4-BE49-F238E27FC236}">
                <a16:creationId xmlns:a16="http://schemas.microsoft.com/office/drawing/2014/main" id="{A7B3F6DB-BFA1-1EC0-92AB-FF8D8A6DE182}"/>
              </a:ext>
            </a:extLst>
          </p:cNvPr>
          <p:cNvPicPr>
            <a:picLocks noChangeAspect="1" noChangeArrowheads="1"/>
          </p:cNvPicPr>
          <p:nvPr/>
        </p:nvPicPr>
        <p:blipFill rotWithShape="1">
          <a:blip r:embed="rId2">
            <a:alphaModFix amt="50000"/>
            <a:extLst>
              <a:ext uri="{28A0092B-C50C-407E-A947-70E740481C1C}">
                <a14:useLocalDpi xmlns:a14="http://schemas.microsoft.com/office/drawing/2010/main" val="0"/>
              </a:ext>
            </a:extLst>
          </a:blip>
          <a:srcRect r="10123" b="19681"/>
          <a:stretch/>
        </p:blipFill>
        <p:spPr bwMode="auto">
          <a:xfrm>
            <a:off x="9148449" y="4169892"/>
            <a:ext cx="3043551" cy="268810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7F1285ED-C1C5-BD22-9500-FB10D5F39A10}"/>
              </a:ext>
            </a:extLst>
          </p:cNvPr>
          <p:cNvSpPr>
            <a:spLocks noGrp="1"/>
          </p:cNvSpPr>
          <p:nvPr>
            <p:ph type="title"/>
          </p:nvPr>
        </p:nvSpPr>
        <p:spPr/>
        <p:txBody>
          <a:bodyPr/>
          <a:lstStyle/>
          <a:p>
            <a:r>
              <a:rPr lang="nl-NL"/>
              <a:t>POSITIVE PERSONALITY TRAITS</a:t>
            </a:r>
          </a:p>
        </p:txBody>
      </p:sp>
      <p:sp>
        <p:nvSpPr>
          <p:cNvPr id="6" name="Text Placeholder 7">
            <a:extLst>
              <a:ext uri="{FF2B5EF4-FFF2-40B4-BE49-F238E27FC236}">
                <a16:creationId xmlns:a16="http://schemas.microsoft.com/office/drawing/2014/main" id="{4F2386A5-437C-D700-FE77-EDED03A307A0}"/>
              </a:ext>
            </a:extLst>
          </p:cNvPr>
          <p:cNvSpPr txBox="1">
            <a:spLocks/>
          </p:cNvSpPr>
          <p:nvPr/>
        </p:nvSpPr>
        <p:spPr>
          <a:xfrm>
            <a:off x="1210753" y="866776"/>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HELPFUL</a:t>
            </a:r>
            <a:endParaRPr lang="nl-NL" sz="2000" b="1">
              <a:latin typeface="Ink Free" panose="03080402000500000000" pitchFamily="66" charset="0"/>
            </a:endParaRPr>
          </a:p>
        </p:txBody>
      </p:sp>
      <p:sp>
        <p:nvSpPr>
          <p:cNvPr id="7" name="Text Placeholder 7">
            <a:extLst>
              <a:ext uri="{FF2B5EF4-FFF2-40B4-BE49-F238E27FC236}">
                <a16:creationId xmlns:a16="http://schemas.microsoft.com/office/drawing/2014/main" id="{8DA139E9-15A4-94B6-CF16-39E4F22F11C8}"/>
              </a:ext>
            </a:extLst>
          </p:cNvPr>
          <p:cNvSpPr txBox="1">
            <a:spLocks/>
          </p:cNvSpPr>
          <p:nvPr/>
        </p:nvSpPr>
        <p:spPr>
          <a:xfrm>
            <a:off x="4648395" y="866776"/>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OPTIMISTIC</a:t>
            </a:r>
            <a:endParaRPr lang="nl-NL" sz="2000" b="1">
              <a:latin typeface="Ink Free" panose="03080402000500000000" pitchFamily="66" charset="0"/>
            </a:endParaRPr>
          </a:p>
        </p:txBody>
      </p:sp>
      <p:sp>
        <p:nvSpPr>
          <p:cNvPr id="8" name="Text Placeholder 7">
            <a:extLst>
              <a:ext uri="{FF2B5EF4-FFF2-40B4-BE49-F238E27FC236}">
                <a16:creationId xmlns:a16="http://schemas.microsoft.com/office/drawing/2014/main" id="{C3BFE3AA-6915-C3ED-B6BF-0DF61B3BC9CF}"/>
              </a:ext>
            </a:extLst>
          </p:cNvPr>
          <p:cNvSpPr txBox="1">
            <a:spLocks/>
          </p:cNvSpPr>
          <p:nvPr/>
        </p:nvSpPr>
        <p:spPr>
          <a:xfrm>
            <a:off x="8086037" y="866775"/>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HONEST</a:t>
            </a:r>
            <a:endParaRPr lang="nl-NL" sz="2000" b="1">
              <a:latin typeface="Ink Free" panose="03080402000500000000" pitchFamily="66" charset="0"/>
            </a:endParaRPr>
          </a:p>
        </p:txBody>
      </p:sp>
      <p:sp>
        <p:nvSpPr>
          <p:cNvPr id="9" name="Text Placeholder 7">
            <a:extLst>
              <a:ext uri="{FF2B5EF4-FFF2-40B4-BE49-F238E27FC236}">
                <a16:creationId xmlns:a16="http://schemas.microsoft.com/office/drawing/2014/main" id="{71BDFB0C-D16E-BBE8-96EF-BE804AB5ED29}"/>
              </a:ext>
            </a:extLst>
          </p:cNvPr>
          <p:cNvSpPr txBox="1">
            <a:spLocks/>
          </p:cNvSpPr>
          <p:nvPr/>
        </p:nvSpPr>
        <p:spPr>
          <a:xfrm>
            <a:off x="1210753" y="2749297"/>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SELF CONFIDENCE</a:t>
            </a:r>
            <a:endParaRPr lang="nl-NL" sz="2000" b="1">
              <a:latin typeface="Ink Free" panose="03080402000500000000" pitchFamily="66" charset="0"/>
            </a:endParaRPr>
          </a:p>
        </p:txBody>
      </p:sp>
      <p:sp>
        <p:nvSpPr>
          <p:cNvPr id="10" name="Text Placeholder 7">
            <a:extLst>
              <a:ext uri="{FF2B5EF4-FFF2-40B4-BE49-F238E27FC236}">
                <a16:creationId xmlns:a16="http://schemas.microsoft.com/office/drawing/2014/main" id="{4BDB3AF6-894F-2996-8A7A-E0233422FC76}"/>
              </a:ext>
            </a:extLst>
          </p:cNvPr>
          <p:cNvSpPr txBox="1">
            <a:spLocks/>
          </p:cNvSpPr>
          <p:nvPr/>
        </p:nvSpPr>
        <p:spPr>
          <a:xfrm>
            <a:off x="4648395" y="2749297"/>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ENTHUSIASM</a:t>
            </a:r>
            <a:endParaRPr lang="nl-NL" sz="2000" b="1">
              <a:latin typeface="Ink Free" panose="03080402000500000000" pitchFamily="66" charset="0"/>
            </a:endParaRPr>
          </a:p>
        </p:txBody>
      </p:sp>
      <p:sp>
        <p:nvSpPr>
          <p:cNvPr id="11" name="Text Placeholder 7">
            <a:extLst>
              <a:ext uri="{FF2B5EF4-FFF2-40B4-BE49-F238E27FC236}">
                <a16:creationId xmlns:a16="http://schemas.microsoft.com/office/drawing/2014/main" id="{12C55059-5A11-2DC0-8DDB-3BB5497CF781}"/>
              </a:ext>
            </a:extLst>
          </p:cNvPr>
          <p:cNvSpPr txBox="1">
            <a:spLocks/>
          </p:cNvSpPr>
          <p:nvPr/>
        </p:nvSpPr>
        <p:spPr>
          <a:xfrm>
            <a:off x="8086037" y="2749296"/>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HUMOR</a:t>
            </a:r>
            <a:endParaRPr lang="nl-NL" sz="2000" b="1">
              <a:latin typeface="Ink Free" panose="03080402000500000000" pitchFamily="66" charset="0"/>
            </a:endParaRPr>
          </a:p>
        </p:txBody>
      </p:sp>
      <p:sp>
        <p:nvSpPr>
          <p:cNvPr id="12" name="Text Placeholder 7">
            <a:extLst>
              <a:ext uri="{FF2B5EF4-FFF2-40B4-BE49-F238E27FC236}">
                <a16:creationId xmlns:a16="http://schemas.microsoft.com/office/drawing/2014/main" id="{C591F3B7-AC3B-58FE-7799-0A4F6C4F5043}"/>
              </a:ext>
            </a:extLst>
          </p:cNvPr>
          <p:cNvSpPr txBox="1">
            <a:spLocks/>
          </p:cNvSpPr>
          <p:nvPr/>
        </p:nvSpPr>
        <p:spPr>
          <a:xfrm>
            <a:off x="2899657" y="1798266"/>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FRIENDLY</a:t>
            </a:r>
            <a:endParaRPr lang="nl-NL" sz="2000" b="1">
              <a:latin typeface="Ink Free" panose="03080402000500000000" pitchFamily="66" charset="0"/>
            </a:endParaRPr>
          </a:p>
        </p:txBody>
      </p:sp>
      <p:sp>
        <p:nvSpPr>
          <p:cNvPr id="13" name="Text Placeholder 7">
            <a:extLst>
              <a:ext uri="{FF2B5EF4-FFF2-40B4-BE49-F238E27FC236}">
                <a16:creationId xmlns:a16="http://schemas.microsoft.com/office/drawing/2014/main" id="{36E7AE9A-9276-24C5-B657-CF936320150A}"/>
              </a:ext>
            </a:extLst>
          </p:cNvPr>
          <p:cNvSpPr txBox="1">
            <a:spLocks/>
          </p:cNvSpPr>
          <p:nvPr/>
        </p:nvSpPr>
        <p:spPr>
          <a:xfrm>
            <a:off x="6337299" y="1798265"/>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RESPONSIBLE</a:t>
            </a:r>
            <a:endParaRPr lang="nl-NL" sz="2000" b="1">
              <a:latin typeface="Ink Free" panose="03080402000500000000" pitchFamily="66" charset="0"/>
            </a:endParaRPr>
          </a:p>
        </p:txBody>
      </p:sp>
      <p:sp>
        <p:nvSpPr>
          <p:cNvPr id="14" name="Text Placeholder 7">
            <a:extLst>
              <a:ext uri="{FF2B5EF4-FFF2-40B4-BE49-F238E27FC236}">
                <a16:creationId xmlns:a16="http://schemas.microsoft.com/office/drawing/2014/main" id="{E231164D-0874-004F-8925-FB4ED5D690F1}"/>
              </a:ext>
            </a:extLst>
          </p:cNvPr>
          <p:cNvSpPr txBox="1">
            <a:spLocks/>
          </p:cNvSpPr>
          <p:nvPr/>
        </p:nvSpPr>
        <p:spPr>
          <a:xfrm>
            <a:off x="2899657" y="3753757"/>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AMBITION</a:t>
            </a:r>
            <a:endParaRPr lang="nl-NL" sz="2000" b="1">
              <a:latin typeface="Ink Free" panose="03080402000500000000" pitchFamily="66" charset="0"/>
            </a:endParaRPr>
          </a:p>
        </p:txBody>
      </p:sp>
      <p:sp>
        <p:nvSpPr>
          <p:cNvPr id="15" name="Text Placeholder 7">
            <a:extLst>
              <a:ext uri="{FF2B5EF4-FFF2-40B4-BE49-F238E27FC236}">
                <a16:creationId xmlns:a16="http://schemas.microsoft.com/office/drawing/2014/main" id="{EC01D728-E21F-F227-161C-6515B90E1B6D}"/>
              </a:ext>
            </a:extLst>
          </p:cNvPr>
          <p:cNvSpPr txBox="1">
            <a:spLocks/>
          </p:cNvSpPr>
          <p:nvPr/>
        </p:nvSpPr>
        <p:spPr>
          <a:xfrm>
            <a:off x="6337299" y="3774082"/>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nl-NL" sz="2000" b="1">
                <a:latin typeface="Ink Free" panose="03080402000500000000" pitchFamily="66" charset="0"/>
              </a:rPr>
              <a:t>CURIOSITY</a:t>
            </a:r>
          </a:p>
        </p:txBody>
      </p:sp>
      <p:sp>
        <p:nvSpPr>
          <p:cNvPr id="16" name="Text Placeholder 7">
            <a:extLst>
              <a:ext uri="{FF2B5EF4-FFF2-40B4-BE49-F238E27FC236}">
                <a16:creationId xmlns:a16="http://schemas.microsoft.com/office/drawing/2014/main" id="{FE5BC2C5-FA3E-792A-6F02-178CB6B1D545}"/>
              </a:ext>
            </a:extLst>
          </p:cNvPr>
          <p:cNvSpPr txBox="1">
            <a:spLocks/>
          </p:cNvSpPr>
          <p:nvPr/>
        </p:nvSpPr>
        <p:spPr>
          <a:xfrm>
            <a:off x="1210753" y="4793600"/>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OURAGE</a:t>
            </a:r>
            <a:endParaRPr lang="nl-NL" sz="2000" b="1">
              <a:latin typeface="Ink Free" panose="03080402000500000000" pitchFamily="66" charset="0"/>
            </a:endParaRPr>
          </a:p>
        </p:txBody>
      </p:sp>
      <p:sp>
        <p:nvSpPr>
          <p:cNvPr id="17" name="Text Placeholder 7">
            <a:extLst>
              <a:ext uri="{FF2B5EF4-FFF2-40B4-BE49-F238E27FC236}">
                <a16:creationId xmlns:a16="http://schemas.microsoft.com/office/drawing/2014/main" id="{E1355D39-3E84-E102-EA11-FCC04ED43074}"/>
              </a:ext>
            </a:extLst>
          </p:cNvPr>
          <p:cNvSpPr txBox="1">
            <a:spLocks/>
          </p:cNvSpPr>
          <p:nvPr/>
        </p:nvSpPr>
        <p:spPr>
          <a:xfrm>
            <a:off x="4648395" y="4793600"/>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ONSIDERATE</a:t>
            </a:r>
            <a:endParaRPr lang="nl-NL" sz="2000" b="1">
              <a:latin typeface="Ink Free" panose="03080402000500000000" pitchFamily="66" charset="0"/>
            </a:endParaRPr>
          </a:p>
        </p:txBody>
      </p:sp>
      <p:sp>
        <p:nvSpPr>
          <p:cNvPr id="18" name="Text Placeholder 7">
            <a:extLst>
              <a:ext uri="{FF2B5EF4-FFF2-40B4-BE49-F238E27FC236}">
                <a16:creationId xmlns:a16="http://schemas.microsoft.com/office/drawing/2014/main" id="{9814B38E-720F-7599-CE97-34EEF8A35402}"/>
              </a:ext>
            </a:extLst>
          </p:cNvPr>
          <p:cNvSpPr txBox="1">
            <a:spLocks/>
          </p:cNvSpPr>
          <p:nvPr/>
        </p:nvSpPr>
        <p:spPr>
          <a:xfrm>
            <a:off x="8086037" y="4793599"/>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GENEROSITY</a:t>
            </a:r>
            <a:endParaRPr lang="nl-NL" sz="2000" b="1">
              <a:latin typeface="Ink Free" panose="03080402000500000000" pitchFamily="66" charset="0"/>
            </a:endParaRPr>
          </a:p>
        </p:txBody>
      </p:sp>
      <p:sp>
        <p:nvSpPr>
          <p:cNvPr id="19" name="Text Placeholder 7">
            <a:extLst>
              <a:ext uri="{FF2B5EF4-FFF2-40B4-BE49-F238E27FC236}">
                <a16:creationId xmlns:a16="http://schemas.microsoft.com/office/drawing/2014/main" id="{3C79A474-09C1-87FD-CE02-0BE97E639DD2}"/>
              </a:ext>
            </a:extLst>
          </p:cNvPr>
          <p:cNvSpPr txBox="1">
            <a:spLocks/>
          </p:cNvSpPr>
          <p:nvPr/>
        </p:nvSpPr>
        <p:spPr>
          <a:xfrm>
            <a:off x="2899656" y="5815299"/>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OPENNESS</a:t>
            </a:r>
            <a:endParaRPr lang="nl-NL" sz="2000" b="1">
              <a:latin typeface="Ink Free" panose="03080402000500000000" pitchFamily="66" charset="0"/>
            </a:endParaRPr>
          </a:p>
        </p:txBody>
      </p:sp>
      <p:sp>
        <p:nvSpPr>
          <p:cNvPr id="20" name="Text Placeholder 7">
            <a:extLst>
              <a:ext uri="{FF2B5EF4-FFF2-40B4-BE49-F238E27FC236}">
                <a16:creationId xmlns:a16="http://schemas.microsoft.com/office/drawing/2014/main" id="{4E6B0195-D1A9-4FA8-9361-2135D11D7C88}"/>
              </a:ext>
            </a:extLst>
          </p:cNvPr>
          <p:cNvSpPr txBox="1">
            <a:spLocks/>
          </p:cNvSpPr>
          <p:nvPr/>
        </p:nvSpPr>
        <p:spPr>
          <a:xfrm>
            <a:off x="6337299" y="5815298"/>
            <a:ext cx="3038255" cy="722721"/>
          </a:xfrm>
          <a:prstGeom prst="roundRect">
            <a:avLst/>
          </a:prstGeom>
          <a:solidFill>
            <a:schemeClr val="accent6">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LOYALTY</a:t>
            </a:r>
            <a:endParaRPr lang="nl-NL" sz="2000" b="1">
              <a:latin typeface="Ink Free" panose="03080402000500000000" pitchFamily="66" charset="0"/>
            </a:endParaRPr>
          </a:p>
        </p:txBody>
      </p:sp>
      <p:sp>
        <p:nvSpPr>
          <p:cNvPr id="2" name="Slide Number Placeholder 1">
            <a:extLst>
              <a:ext uri="{FF2B5EF4-FFF2-40B4-BE49-F238E27FC236}">
                <a16:creationId xmlns:a16="http://schemas.microsoft.com/office/drawing/2014/main" id="{B36E8ECE-7254-7DE4-05E5-0B9F7B3776D3}"/>
              </a:ext>
            </a:extLst>
          </p:cNvPr>
          <p:cNvSpPr>
            <a:spLocks noGrp="1"/>
          </p:cNvSpPr>
          <p:nvPr>
            <p:ph type="sldNum" sz="quarter" idx="12"/>
          </p:nvPr>
        </p:nvSpPr>
        <p:spPr/>
        <p:txBody>
          <a:bodyPr/>
          <a:lstStyle/>
          <a:p>
            <a:fld id="{0674757E-06C4-4259-8159-64C08476399D}" type="slidenum">
              <a:rPr lang="nl-NL" smtClean="0"/>
              <a:pPr/>
              <a:t>12</a:t>
            </a:fld>
            <a:endParaRPr lang="nl-NL"/>
          </a:p>
        </p:txBody>
      </p:sp>
    </p:spTree>
    <p:extLst>
      <p:ext uri="{BB962C8B-B14F-4D97-AF65-F5344CB8AC3E}">
        <p14:creationId xmlns:p14="http://schemas.microsoft.com/office/powerpoint/2010/main" val="75204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898EA10-C7AF-343E-52CF-A234C2E84289}"/>
              </a:ext>
            </a:extLst>
          </p:cNvPr>
          <p:cNvPicPr>
            <a:picLocks noChangeAspect="1" noChangeArrowheads="1"/>
          </p:cNvPicPr>
          <p:nvPr/>
        </p:nvPicPr>
        <p:blipFill rotWithShape="1">
          <a:blip r:embed="rId2">
            <a:alphaModFix amt="50000"/>
            <a:extLst>
              <a:ext uri="{28A0092B-C50C-407E-A947-70E740481C1C}">
                <a14:useLocalDpi xmlns:a14="http://schemas.microsoft.com/office/drawing/2010/main" val="0"/>
              </a:ext>
            </a:extLst>
          </a:blip>
          <a:srcRect r="9325" b="20440"/>
          <a:stretch/>
        </p:blipFill>
        <p:spPr bwMode="auto">
          <a:xfrm>
            <a:off x="9228843" y="4195292"/>
            <a:ext cx="2963157" cy="266270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7F1285ED-C1C5-BD22-9500-FB10D5F39A10}"/>
              </a:ext>
            </a:extLst>
          </p:cNvPr>
          <p:cNvSpPr>
            <a:spLocks noGrp="1"/>
          </p:cNvSpPr>
          <p:nvPr>
            <p:ph type="title"/>
          </p:nvPr>
        </p:nvSpPr>
        <p:spPr/>
        <p:txBody>
          <a:bodyPr/>
          <a:lstStyle/>
          <a:p>
            <a:r>
              <a:rPr lang="nl-NL"/>
              <a:t>NEGATIVE PERSONALITY TRAITS</a:t>
            </a:r>
          </a:p>
        </p:txBody>
      </p:sp>
      <p:sp>
        <p:nvSpPr>
          <p:cNvPr id="2" name="Text Placeholder 7">
            <a:extLst>
              <a:ext uri="{FF2B5EF4-FFF2-40B4-BE49-F238E27FC236}">
                <a16:creationId xmlns:a16="http://schemas.microsoft.com/office/drawing/2014/main" id="{A7778CA4-38FE-0855-1E8D-977A7B6F381B}"/>
              </a:ext>
            </a:extLst>
          </p:cNvPr>
          <p:cNvSpPr txBox="1">
            <a:spLocks/>
          </p:cNvSpPr>
          <p:nvPr/>
        </p:nvSpPr>
        <p:spPr>
          <a:xfrm>
            <a:off x="1210753" y="866776"/>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LAZYNESS</a:t>
            </a:r>
            <a:endParaRPr lang="nl-NL" sz="2000" b="1">
              <a:latin typeface="Ink Free" panose="03080402000500000000" pitchFamily="66" charset="0"/>
            </a:endParaRPr>
          </a:p>
        </p:txBody>
      </p:sp>
      <p:sp>
        <p:nvSpPr>
          <p:cNvPr id="3" name="Text Placeholder 7">
            <a:extLst>
              <a:ext uri="{FF2B5EF4-FFF2-40B4-BE49-F238E27FC236}">
                <a16:creationId xmlns:a16="http://schemas.microsoft.com/office/drawing/2014/main" id="{9CB60842-8CE4-8924-0027-1BB8AF7BD9BD}"/>
              </a:ext>
            </a:extLst>
          </p:cNvPr>
          <p:cNvSpPr txBox="1">
            <a:spLocks/>
          </p:cNvSpPr>
          <p:nvPr/>
        </p:nvSpPr>
        <p:spPr>
          <a:xfrm>
            <a:off x="4648395" y="866776"/>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ARROGANCE</a:t>
            </a:r>
            <a:endParaRPr lang="nl-NL" sz="2000" b="1">
              <a:latin typeface="Ink Free" panose="03080402000500000000" pitchFamily="66" charset="0"/>
            </a:endParaRPr>
          </a:p>
        </p:txBody>
      </p:sp>
      <p:sp>
        <p:nvSpPr>
          <p:cNvPr id="5" name="Text Placeholder 7">
            <a:extLst>
              <a:ext uri="{FF2B5EF4-FFF2-40B4-BE49-F238E27FC236}">
                <a16:creationId xmlns:a16="http://schemas.microsoft.com/office/drawing/2014/main" id="{E538A01E-091D-633F-0C3B-34CAA182898E}"/>
              </a:ext>
            </a:extLst>
          </p:cNvPr>
          <p:cNvSpPr txBox="1">
            <a:spLocks/>
          </p:cNvSpPr>
          <p:nvPr/>
        </p:nvSpPr>
        <p:spPr>
          <a:xfrm>
            <a:off x="8086037" y="866775"/>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RECKLESSNESS</a:t>
            </a:r>
            <a:endParaRPr lang="nl-NL" sz="2000" b="1">
              <a:latin typeface="Ink Free" panose="03080402000500000000" pitchFamily="66" charset="0"/>
            </a:endParaRPr>
          </a:p>
        </p:txBody>
      </p:sp>
      <p:sp>
        <p:nvSpPr>
          <p:cNvPr id="6" name="Text Placeholder 7">
            <a:extLst>
              <a:ext uri="{FF2B5EF4-FFF2-40B4-BE49-F238E27FC236}">
                <a16:creationId xmlns:a16="http://schemas.microsoft.com/office/drawing/2014/main" id="{46D199D0-5B72-D40B-CBD3-538BAB4AD6BF}"/>
              </a:ext>
            </a:extLst>
          </p:cNvPr>
          <p:cNvSpPr txBox="1">
            <a:spLocks/>
          </p:cNvSpPr>
          <p:nvPr/>
        </p:nvSpPr>
        <p:spPr>
          <a:xfrm>
            <a:off x="1210753" y="2749297"/>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JEALOUSY</a:t>
            </a:r>
            <a:endParaRPr lang="nl-NL" sz="2000" b="1">
              <a:latin typeface="Ink Free" panose="03080402000500000000" pitchFamily="66" charset="0"/>
            </a:endParaRPr>
          </a:p>
        </p:txBody>
      </p:sp>
      <p:sp>
        <p:nvSpPr>
          <p:cNvPr id="7" name="Text Placeholder 7">
            <a:extLst>
              <a:ext uri="{FF2B5EF4-FFF2-40B4-BE49-F238E27FC236}">
                <a16:creationId xmlns:a16="http://schemas.microsoft.com/office/drawing/2014/main" id="{FFB00163-E619-A036-5FE6-8FCFDBEFDE8A}"/>
              </a:ext>
            </a:extLst>
          </p:cNvPr>
          <p:cNvSpPr txBox="1">
            <a:spLocks/>
          </p:cNvSpPr>
          <p:nvPr/>
        </p:nvSpPr>
        <p:spPr>
          <a:xfrm>
            <a:off x="4648395" y="2749297"/>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GREED</a:t>
            </a:r>
            <a:endParaRPr lang="nl-NL" sz="2000" b="1">
              <a:latin typeface="Ink Free" panose="03080402000500000000" pitchFamily="66" charset="0"/>
            </a:endParaRPr>
          </a:p>
        </p:txBody>
      </p:sp>
      <p:sp>
        <p:nvSpPr>
          <p:cNvPr id="8" name="Text Placeholder 7">
            <a:extLst>
              <a:ext uri="{FF2B5EF4-FFF2-40B4-BE49-F238E27FC236}">
                <a16:creationId xmlns:a16="http://schemas.microsoft.com/office/drawing/2014/main" id="{2B6EC284-A324-1CF1-1F05-C8CC02A6DED7}"/>
              </a:ext>
            </a:extLst>
          </p:cNvPr>
          <p:cNvSpPr txBox="1">
            <a:spLocks/>
          </p:cNvSpPr>
          <p:nvPr/>
        </p:nvSpPr>
        <p:spPr>
          <a:xfrm>
            <a:off x="8086037" y="2749296"/>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MANIPULATION</a:t>
            </a:r>
            <a:endParaRPr lang="nl-NL" sz="2000" b="1">
              <a:latin typeface="Ink Free" panose="03080402000500000000" pitchFamily="66" charset="0"/>
            </a:endParaRPr>
          </a:p>
        </p:txBody>
      </p:sp>
      <p:sp>
        <p:nvSpPr>
          <p:cNvPr id="9" name="Text Placeholder 7">
            <a:extLst>
              <a:ext uri="{FF2B5EF4-FFF2-40B4-BE49-F238E27FC236}">
                <a16:creationId xmlns:a16="http://schemas.microsoft.com/office/drawing/2014/main" id="{BACDA581-7CC5-5796-42A0-721B610C2EEA}"/>
              </a:ext>
            </a:extLst>
          </p:cNvPr>
          <p:cNvSpPr txBox="1">
            <a:spLocks/>
          </p:cNvSpPr>
          <p:nvPr/>
        </p:nvSpPr>
        <p:spPr>
          <a:xfrm>
            <a:off x="2899657" y="1798266"/>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IMPATIENCE</a:t>
            </a:r>
            <a:endParaRPr lang="nl-NL" sz="2000" b="1">
              <a:latin typeface="Ink Free" panose="03080402000500000000" pitchFamily="66" charset="0"/>
            </a:endParaRPr>
          </a:p>
        </p:txBody>
      </p:sp>
      <p:sp>
        <p:nvSpPr>
          <p:cNvPr id="10" name="Text Placeholder 7">
            <a:extLst>
              <a:ext uri="{FF2B5EF4-FFF2-40B4-BE49-F238E27FC236}">
                <a16:creationId xmlns:a16="http://schemas.microsoft.com/office/drawing/2014/main" id="{EE31BB24-7063-731C-9299-90FDC3002598}"/>
              </a:ext>
            </a:extLst>
          </p:cNvPr>
          <p:cNvSpPr txBox="1">
            <a:spLocks/>
          </p:cNvSpPr>
          <p:nvPr/>
        </p:nvSpPr>
        <p:spPr>
          <a:xfrm>
            <a:off x="6337299" y="1798265"/>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DISRESPECT</a:t>
            </a:r>
            <a:endParaRPr lang="nl-NL" sz="2000" b="1">
              <a:latin typeface="Ink Free" panose="03080402000500000000" pitchFamily="66" charset="0"/>
            </a:endParaRPr>
          </a:p>
        </p:txBody>
      </p:sp>
      <p:sp>
        <p:nvSpPr>
          <p:cNvPr id="11" name="Text Placeholder 7">
            <a:extLst>
              <a:ext uri="{FF2B5EF4-FFF2-40B4-BE49-F238E27FC236}">
                <a16:creationId xmlns:a16="http://schemas.microsoft.com/office/drawing/2014/main" id="{F0C21132-BF97-54D9-0503-F75FAD41C380}"/>
              </a:ext>
            </a:extLst>
          </p:cNvPr>
          <p:cNvSpPr txBox="1">
            <a:spLocks/>
          </p:cNvSpPr>
          <p:nvPr/>
        </p:nvSpPr>
        <p:spPr>
          <a:xfrm>
            <a:off x="2899657" y="3753757"/>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STUBBORNESS</a:t>
            </a:r>
            <a:endParaRPr lang="nl-NL" sz="2000" b="1">
              <a:latin typeface="Ink Free" panose="03080402000500000000" pitchFamily="66" charset="0"/>
            </a:endParaRPr>
          </a:p>
        </p:txBody>
      </p:sp>
      <p:sp>
        <p:nvSpPr>
          <p:cNvPr id="12" name="Text Placeholder 7">
            <a:extLst>
              <a:ext uri="{FF2B5EF4-FFF2-40B4-BE49-F238E27FC236}">
                <a16:creationId xmlns:a16="http://schemas.microsoft.com/office/drawing/2014/main" id="{69299F3E-AA5B-B0B9-2520-9F5AEF7DA965}"/>
              </a:ext>
            </a:extLst>
          </p:cNvPr>
          <p:cNvSpPr txBox="1">
            <a:spLocks/>
          </p:cNvSpPr>
          <p:nvPr/>
        </p:nvSpPr>
        <p:spPr>
          <a:xfrm>
            <a:off x="6337299" y="3774082"/>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DISHONESTY</a:t>
            </a:r>
            <a:endParaRPr lang="nl-NL" sz="2000" b="1">
              <a:latin typeface="Ink Free" panose="03080402000500000000" pitchFamily="66" charset="0"/>
            </a:endParaRPr>
          </a:p>
        </p:txBody>
      </p:sp>
      <p:sp>
        <p:nvSpPr>
          <p:cNvPr id="13" name="Text Placeholder 7">
            <a:extLst>
              <a:ext uri="{FF2B5EF4-FFF2-40B4-BE49-F238E27FC236}">
                <a16:creationId xmlns:a16="http://schemas.microsoft.com/office/drawing/2014/main" id="{11BE6A33-AA53-DC8F-92BE-6DE179A98828}"/>
              </a:ext>
            </a:extLst>
          </p:cNvPr>
          <p:cNvSpPr txBox="1">
            <a:spLocks/>
          </p:cNvSpPr>
          <p:nvPr/>
        </p:nvSpPr>
        <p:spPr>
          <a:xfrm>
            <a:off x="1210753" y="4793600"/>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YNISISM</a:t>
            </a:r>
            <a:endParaRPr lang="nl-NL" sz="2000" b="1">
              <a:latin typeface="Ink Free" panose="03080402000500000000" pitchFamily="66" charset="0"/>
            </a:endParaRPr>
          </a:p>
        </p:txBody>
      </p:sp>
      <p:sp>
        <p:nvSpPr>
          <p:cNvPr id="14" name="Text Placeholder 7">
            <a:extLst>
              <a:ext uri="{FF2B5EF4-FFF2-40B4-BE49-F238E27FC236}">
                <a16:creationId xmlns:a16="http://schemas.microsoft.com/office/drawing/2014/main" id="{904E44FE-BFAB-384A-07A6-AE037BCBEEF8}"/>
              </a:ext>
            </a:extLst>
          </p:cNvPr>
          <p:cNvSpPr txBox="1">
            <a:spLocks/>
          </p:cNvSpPr>
          <p:nvPr/>
        </p:nvSpPr>
        <p:spPr>
          <a:xfrm>
            <a:off x="4648395" y="4793600"/>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RUDENESS</a:t>
            </a:r>
            <a:endParaRPr lang="nl-NL" sz="2000" b="1">
              <a:latin typeface="Ink Free" panose="03080402000500000000" pitchFamily="66" charset="0"/>
            </a:endParaRPr>
          </a:p>
        </p:txBody>
      </p:sp>
      <p:sp>
        <p:nvSpPr>
          <p:cNvPr id="15" name="Text Placeholder 7">
            <a:extLst>
              <a:ext uri="{FF2B5EF4-FFF2-40B4-BE49-F238E27FC236}">
                <a16:creationId xmlns:a16="http://schemas.microsoft.com/office/drawing/2014/main" id="{A5EC64A9-1D96-EB9A-4CDF-CBA6438C5673}"/>
              </a:ext>
            </a:extLst>
          </p:cNvPr>
          <p:cNvSpPr txBox="1">
            <a:spLocks/>
          </p:cNvSpPr>
          <p:nvPr/>
        </p:nvSpPr>
        <p:spPr>
          <a:xfrm>
            <a:off x="8086037" y="4793599"/>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SELFISHNESS</a:t>
            </a:r>
            <a:endParaRPr lang="nl-NL" sz="2000" b="1">
              <a:latin typeface="Ink Free" panose="03080402000500000000" pitchFamily="66" charset="0"/>
            </a:endParaRPr>
          </a:p>
        </p:txBody>
      </p:sp>
      <p:sp>
        <p:nvSpPr>
          <p:cNvPr id="16" name="Text Placeholder 7">
            <a:extLst>
              <a:ext uri="{FF2B5EF4-FFF2-40B4-BE49-F238E27FC236}">
                <a16:creationId xmlns:a16="http://schemas.microsoft.com/office/drawing/2014/main" id="{67923B3D-6C55-A0AD-7757-DE83738663C2}"/>
              </a:ext>
            </a:extLst>
          </p:cNvPr>
          <p:cNvSpPr txBox="1">
            <a:spLocks/>
          </p:cNvSpPr>
          <p:nvPr/>
        </p:nvSpPr>
        <p:spPr>
          <a:xfrm>
            <a:off x="2899656" y="5815299"/>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APATHY</a:t>
            </a:r>
            <a:endParaRPr lang="nl-NL" sz="2000" b="1">
              <a:latin typeface="Ink Free" panose="03080402000500000000" pitchFamily="66" charset="0"/>
            </a:endParaRPr>
          </a:p>
        </p:txBody>
      </p:sp>
      <p:sp>
        <p:nvSpPr>
          <p:cNvPr id="17" name="Text Placeholder 7">
            <a:extLst>
              <a:ext uri="{FF2B5EF4-FFF2-40B4-BE49-F238E27FC236}">
                <a16:creationId xmlns:a16="http://schemas.microsoft.com/office/drawing/2014/main" id="{4FB19EAB-96CB-D78F-DAEE-3D7AAF3E678E}"/>
              </a:ext>
            </a:extLst>
          </p:cNvPr>
          <p:cNvSpPr txBox="1">
            <a:spLocks/>
          </p:cNvSpPr>
          <p:nvPr/>
        </p:nvSpPr>
        <p:spPr>
          <a:xfrm>
            <a:off x="6337299" y="5815298"/>
            <a:ext cx="3038255" cy="722721"/>
          </a:xfrm>
          <a:prstGeom prst="roundRect">
            <a:avLst/>
          </a:prstGeom>
          <a:solidFill>
            <a:schemeClr val="accent2">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PESSIMISM</a:t>
            </a:r>
            <a:endParaRPr lang="nl-NL" sz="2000" b="1">
              <a:latin typeface="Ink Free" panose="03080402000500000000" pitchFamily="66" charset="0"/>
            </a:endParaRPr>
          </a:p>
        </p:txBody>
      </p:sp>
      <p:sp>
        <p:nvSpPr>
          <p:cNvPr id="18" name="Slide Number Placeholder 17">
            <a:extLst>
              <a:ext uri="{FF2B5EF4-FFF2-40B4-BE49-F238E27FC236}">
                <a16:creationId xmlns:a16="http://schemas.microsoft.com/office/drawing/2014/main" id="{18687DEE-F40C-7DB0-ED76-5CDA5D8CEEAA}"/>
              </a:ext>
            </a:extLst>
          </p:cNvPr>
          <p:cNvSpPr>
            <a:spLocks noGrp="1"/>
          </p:cNvSpPr>
          <p:nvPr>
            <p:ph type="sldNum" sz="quarter" idx="12"/>
          </p:nvPr>
        </p:nvSpPr>
        <p:spPr/>
        <p:txBody>
          <a:bodyPr/>
          <a:lstStyle/>
          <a:p>
            <a:fld id="{0674757E-06C4-4259-8159-64C08476399D}" type="slidenum">
              <a:rPr lang="nl-NL" smtClean="0"/>
              <a:pPr/>
              <a:t>13</a:t>
            </a:fld>
            <a:endParaRPr lang="nl-NL"/>
          </a:p>
        </p:txBody>
      </p:sp>
    </p:spTree>
    <p:extLst>
      <p:ext uri="{BB962C8B-B14F-4D97-AF65-F5344CB8AC3E}">
        <p14:creationId xmlns:p14="http://schemas.microsoft.com/office/powerpoint/2010/main" val="2569246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70246-E744-77AA-C2E4-31BF5DD24F4E}"/>
              </a:ext>
            </a:extLst>
          </p:cNvPr>
          <p:cNvSpPr>
            <a:spLocks noGrp="1"/>
          </p:cNvSpPr>
          <p:nvPr>
            <p:ph type="title"/>
          </p:nvPr>
        </p:nvSpPr>
        <p:spPr/>
        <p:txBody>
          <a:bodyPr/>
          <a:lstStyle/>
          <a:p>
            <a:r>
              <a:rPr lang="nl-NL"/>
              <a:t>TRANSFERABLE SKILLS</a:t>
            </a:r>
          </a:p>
        </p:txBody>
      </p:sp>
      <p:sp>
        <p:nvSpPr>
          <p:cNvPr id="4" name="Text Placeholder 3">
            <a:extLst>
              <a:ext uri="{FF2B5EF4-FFF2-40B4-BE49-F238E27FC236}">
                <a16:creationId xmlns:a16="http://schemas.microsoft.com/office/drawing/2014/main" id="{33840FA5-6A4A-12D2-0D65-1436965343D3}"/>
              </a:ext>
            </a:extLst>
          </p:cNvPr>
          <p:cNvSpPr>
            <a:spLocks noGrp="1"/>
          </p:cNvSpPr>
          <p:nvPr>
            <p:ph type="body" sz="quarter" idx="11"/>
          </p:nvPr>
        </p:nvSpPr>
        <p:spPr>
          <a:xfrm>
            <a:off x="3900464" y="2049912"/>
            <a:ext cx="7923236" cy="4107666"/>
          </a:xfrm>
        </p:spPr>
        <p:txBody>
          <a:bodyPr/>
          <a:lstStyle/>
          <a:p>
            <a:r>
              <a:rPr lang="en-US" sz="2000" b="0"/>
              <a:t>Teamwork, flexibility, problem solving, critical thinking, adaptability, communication and attention to detail are good examples of transferable skills. </a:t>
            </a:r>
          </a:p>
          <a:p>
            <a:r>
              <a:rPr lang="en-US" sz="2000">
                <a:solidFill>
                  <a:srgbClr val="00AEEF"/>
                </a:solidFill>
              </a:rPr>
              <a:t>An  example:</a:t>
            </a:r>
          </a:p>
          <a:p>
            <a:r>
              <a:rPr lang="en-US" sz="2000" b="0"/>
              <a:t>If you are a caring and friendly person you might like to work in jobs that involve people, for example Health Care. Your communication and problem-solving skills may define how good you are at it.</a:t>
            </a:r>
          </a:p>
          <a:p>
            <a:r>
              <a:rPr lang="en-US" sz="2000" b="0"/>
              <a:t>If these skills are not up to standard, you may not succeed and you may even develop anxiety and stress. The good news is that you can develop your transferable skills which means you can improve and with that be increasingly successful at what you love to do.</a:t>
            </a:r>
          </a:p>
          <a:p>
            <a:r>
              <a:rPr lang="en-US" sz="2000" b="0"/>
              <a:t>This means that finding a job role that matches your personality is only part of the equation. You also need to find a role that matches your skillset.</a:t>
            </a:r>
          </a:p>
          <a:p>
            <a:endParaRPr lang="en-US" sz="2000" b="0"/>
          </a:p>
          <a:p>
            <a:endParaRPr lang="nl-NL" sz="2000" b="0"/>
          </a:p>
        </p:txBody>
      </p:sp>
      <p:sp>
        <p:nvSpPr>
          <p:cNvPr id="3" name="Slide Number Placeholder 2">
            <a:extLst>
              <a:ext uri="{FF2B5EF4-FFF2-40B4-BE49-F238E27FC236}">
                <a16:creationId xmlns:a16="http://schemas.microsoft.com/office/drawing/2014/main" id="{EEB509A8-F358-7EDF-66F1-EE2C4E133104}"/>
              </a:ext>
            </a:extLst>
          </p:cNvPr>
          <p:cNvSpPr>
            <a:spLocks noGrp="1"/>
          </p:cNvSpPr>
          <p:nvPr>
            <p:ph type="sldNum" sz="quarter" idx="12"/>
          </p:nvPr>
        </p:nvSpPr>
        <p:spPr/>
        <p:txBody>
          <a:bodyPr/>
          <a:lstStyle/>
          <a:p>
            <a:fld id="{0674757E-06C4-4259-8159-64C08476399D}" type="slidenum">
              <a:rPr lang="nl-NL" smtClean="0"/>
              <a:pPr/>
              <a:t>14</a:t>
            </a:fld>
            <a:endParaRPr lang="nl-NL"/>
          </a:p>
        </p:txBody>
      </p:sp>
    </p:spTree>
    <p:extLst>
      <p:ext uri="{BB962C8B-B14F-4D97-AF65-F5344CB8AC3E}">
        <p14:creationId xmlns:p14="http://schemas.microsoft.com/office/powerpoint/2010/main" val="2518726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1285ED-C1C5-BD22-9500-FB10D5F39A10}"/>
              </a:ext>
            </a:extLst>
          </p:cNvPr>
          <p:cNvSpPr>
            <a:spLocks noGrp="1"/>
          </p:cNvSpPr>
          <p:nvPr>
            <p:ph type="title"/>
          </p:nvPr>
        </p:nvSpPr>
        <p:spPr/>
        <p:txBody>
          <a:bodyPr/>
          <a:lstStyle/>
          <a:p>
            <a:r>
              <a:rPr lang="nl-NL"/>
              <a:t>TRANSFERABLE SKILLS</a:t>
            </a:r>
          </a:p>
        </p:txBody>
      </p:sp>
      <p:sp>
        <p:nvSpPr>
          <p:cNvPr id="2" name="Text Placeholder 7">
            <a:extLst>
              <a:ext uri="{FF2B5EF4-FFF2-40B4-BE49-F238E27FC236}">
                <a16:creationId xmlns:a16="http://schemas.microsoft.com/office/drawing/2014/main" id="{96261B49-D762-41C6-AE81-F526A84F37C3}"/>
              </a:ext>
            </a:extLst>
          </p:cNvPr>
          <p:cNvSpPr txBox="1">
            <a:spLocks/>
          </p:cNvSpPr>
          <p:nvPr/>
        </p:nvSpPr>
        <p:spPr>
          <a:xfrm>
            <a:off x="1210753" y="866776"/>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LEADERSHIP</a:t>
            </a:r>
            <a:endParaRPr lang="nl-NL" sz="2000" b="1">
              <a:latin typeface="Ink Free" panose="03080402000500000000" pitchFamily="66" charset="0"/>
            </a:endParaRPr>
          </a:p>
        </p:txBody>
      </p:sp>
      <p:sp>
        <p:nvSpPr>
          <p:cNvPr id="3" name="Text Placeholder 7">
            <a:extLst>
              <a:ext uri="{FF2B5EF4-FFF2-40B4-BE49-F238E27FC236}">
                <a16:creationId xmlns:a16="http://schemas.microsoft.com/office/drawing/2014/main" id="{2FE11B4E-CACD-88E9-7861-199EE13E389E}"/>
              </a:ext>
            </a:extLst>
          </p:cNvPr>
          <p:cNvSpPr txBox="1">
            <a:spLocks/>
          </p:cNvSpPr>
          <p:nvPr/>
        </p:nvSpPr>
        <p:spPr>
          <a:xfrm>
            <a:off x="4648395" y="866776"/>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OMMUNICATION</a:t>
            </a:r>
            <a:endParaRPr lang="nl-NL" sz="2000" b="1">
              <a:latin typeface="Ink Free" panose="03080402000500000000" pitchFamily="66" charset="0"/>
            </a:endParaRPr>
          </a:p>
        </p:txBody>
      </p:sp>
      <p:sp>
        <p:nvSpPr>
          <p:cNvPr id="5" name="Text Placeholder 7">
            <a:extLst>
              <a:ext uri="{FF2B5EF4-FFF2-40B4-BE49-F238E27FC236}">
                <a16:creationId xmlns:a16="http://schemas.microsoft.com/office/drawing/2014/main" id="{B3848A0D-B64E-AB82-D33A-3D3FF796E6EB}"/>
              </a:ext>
            </a:extLst>
          </p:cNvPr>
          <p:cNvSpPr txBox="1">
            <a:spLocks/>
          </p:cNvSpPr>
          <p:nvPr/>
        </p:nvSpPr>
        <p:spPr>
          <a:xfrm>
            <a:off x="8086037" y="866775"/>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TEAMWORK</a:t>
            </a:r>
            <a:endParaRPr lang="nl-NL" sz="2000" b="1">
              <a:latin typeface="Ink Free" panose="03080402000500000000" pitchFamily="66" charset="0"/>
            </a:endParaRPr>
          </a:p>
        </p:txBody>
      </p:sp>
      <p:sp>
        <p:nvSpPr>
          <p:cNvPr id="6" name="Text Placeholder 7">
            <a:extLst>
              <a:ext uri="{FF2B5EF4-FFF2-40B4-BE49-F238E27FC236}">
                <a16:creationId xmlns:a16="http://schemas.microsoft.com/office/drawing/2014/main" id="{F1752C1A-CC09-5AB5-6F95-B5AE9634DF65}"/>
              </a:ext>
            </a:extLst>
          </p:cNvPr>
          <p:cNvSpPr txBox="1">
            <a:spLocks/>
          </p:cNvSpPr>
          <p:nvPr/>
        </p:nvSpPr>
        <p:spPr>
          <a:xfrm>
            <a:off x="1210753" y="2749297"/>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TIME MANAGEMENT</a:t>
            </a:r>
            <a:endParaRPr lang="nl-NL" sz="2000" b="1">
              <a:latin typeface="Ink Free" panose="03080402000500000000" pitchFamily="66" charset="0"/>
            </a:endParaRPr>
          </a:p>
        </p:txBody>
      </p:sp>
      <p:sp>
        <p:nvSpPr>
          <p:cNvPr id="7" name="Text Placeholder 7">
            <a:extLst>
              <a:ext uri="{FF2B5EF4-FFF2-40B4-BE49-F238E27FC236}">
                <a16:creationId xmlns:a16="http://schemas.microsoft.com/office/drawing/2014/main" id="{B455477B-85EA-A04B-B730-3E2FAAD04AC8}"/>
              </a:ext>
            </a:extLst>
          </p:cNvPr>
          <p:cNvSpPr txBox="1">
            <a:spLocks/>
          </p:cNvSpPr>
          <p:nvPr/>
        </p:nvSpPr>
        <p:spPr>
          <a:xfrm>
            <a:off x="4648395" y="2749297"/>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REATIVITY</a:t>
            </a:r>
            <a:endParaRPr lang="nl-NL" sz="2000" b="1">
              <a:latin typeface="Ink Free" panose="03080402000500000000" pitchFamily="66" charset="0"/>
            </a:endParaRPr>
          </a:p>
        </p:txBody>
      </p:sp>
      <p:sp>
        <p:nvSpPr>
          <p:cNvPr id="8" name="Text Placeholder 7">
            <a:extLst>
              <a:ext uri="{FF2B5EF4-FFF2-40B4-BE49-F238E27FC236}">
                <a16:creationId xmlns:a16="http://schemas.microsoft.com/office/drawing/2014/main" id="{1FF748BD-5ADC-30D2-D4B6-8CF7F7911274}"/>
              </a:ext>
            </a:extLst>
          </p:cNvPr>
          <p:cNvSpPr txBox="1">
            <a:spLocks/>
          </p:cNvSpPr>
          <p:nvPr/>
        </p:nvSpPr>
        <p:spPr>
          <a:xfrm>
            <a:off x="8086037" y="2749296"/>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DATA ANALYSIS</a:t>
            </a:r>
            <a:endParaRPr lang="nl-NL" sz="2000" b="1">
              <a:latin typeface="Ink Free" panose="03080402000500000000" pitchFamily="66" charset="0"/>
            </a:endParaRPr>
          </a:p>
        </p:txBody>
      </p:sp>
      <p:sp>
        <p:nvSpPr>
          <p:cNvPr id="9" name="Text Placeholder 7">
            <a:extLst>
              <a:ext uri="{FF2B5EF4-FFF2-40B4-BE49-F238E27FC236}">
                <a16:creationId xmlns:a16="http://schemas.microsoft.com/office/drawing/2014/main" id="{9D9F8AD2-5267-3943-5724-C1FC79C2CAA2}"/>
              </a:ext>
            </a:extLst>
          </p:cNvPr>
          <p:cNvSpPr txBox="1">
            <a:spLocks/>
          </p:cNvSpPr>
          <p:nvPr/>
        </p:nvSpPr>
        <p:spPr>
          <a:xfrm>
            <a:off x="2899657" y="1798266"/>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ORGANISATION</a:t>
            </a:r>
            <a:endParaRPr lang="nl-NL" sz="2000" b="1">
              <a:latin typeface="Ink Free" panose="03080402000500000000" pitchFamily="66" charset="0"/>
            </a:endParaRPr>
          </a:p>
        </p:txBody>
      </p:sp>
      <p:sp>
        <p:nvSpPr>
          <p:cNvPr id="10" name="Text Placeholder 7">
            <a:extLst>
              <a:ext uri="{FF2B5EF4-FFF2-40B4-BE49-F238E27FC236}">
                <a16:creationId xmlns:a16="http://schemas.microsoft.com/office/drawing/2014/main" id="{CFA8802B-FB09-419D-8D0D-5A6D36E789E6}"/>
              </a:ext>
            </a:extLst>
          </p:cNvPr>
          <p:cNvSpPr txBox="1">
            <a:spLocks/>
          </p:cNvSpPr>
          <p:nvPr/>
        </p:nvSpPr>
        <p:spPr>
          <a:xfrm>
            <a:off x="6337299" y="1798265"/>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PROBLEM SOLVING</a:t>
            </a:r>
            <a:endParaRPr lang="nl-NL" sz="2000" b="1">
              <a:latin typeface="Ink Free" panose="03080402000500000000" pitchFamily="66" charset="0"/>
            </a:endParaRPr>
          </a:p>
        </p:txBody>
      </p:sp>
      <p:sp>
        <p:nvSpPr>
          <p:cNvPr id="11" name="Text Placeholder 7">
            <a:extLst>
              <a:ext uri="{FF2B5EF4-FFF2-40B4-BE49-F238E27FC236}">
                <a16:creationId xmlns:a16="http://schemas.microsoft.com/office/drawing/2014/main" id="{623C5747-F911-2DAF-39F6-51D7C333CA8C}"/>
              </a:ext>
            </a:extLst>
          </p:cNvPr>
          <p:cNvSpPr txBox="1">
            <a:spLocks/>
          </p:cNvSpPr>
          <p:nvPr/>
        </p:nvSpPr>
        <p:spPr>
          <a:xfrm>
            <a:off x="2899657" y="3753757"/>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ATTENTION TO DETAIL</a:t>
            </a:r>
            <a:endParaRPr lang="nl-NL" sz="2000" b="1">
              <a:latin typeface="Ink Free" panose="03080402000500000000" pitchFamily="66" charset="0"/>
            </a:endParaRPr>
          </a:p>
        </p:txBody>
      </p:sp>
      <p:sp>
        <p:nvSpPr>
          <p:cNvPr id="12" name="Text Placeholder 7">
            <a:extLst>
              <a:ext uri="{FF2B5EF4-FFF2-40B4-BE49-F238E27FC236}">
                <a16:creationId xmlns:a16="http://schemas.microsoft.com/office/drawing/2014/main" id="{B98E0858-DC86-83EC-5D46-650BAB0864BD}"/>
              </a:ext>
            </a:extLst>
          </p:cNvPr>
          <p:cNvSpPr txBox="1">
            <a:spLocks/>
          </p:cNvSpPr>
          <p:nvPr/>
        </p:nvSpPr>
        <p:spPr>
          <a:xfrm>
            <a:off x="6337299" y="3774082"/>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OMPUTER SKILLS</a:t>
            </a:r>
            <a:endParaRPr lang="nl-NL" sz="2000" b="1">
              <a:latin typeface="Ink Free" panose="03080402000500000000" pitchFamily="66" charset="0"/>
            </a:endParaRPr>
          </a:p>
        </p:txBody>
      </p:sp>
      <p:sp>
        <p:nvSpPr>
          <p:cNvPr id="14" name="Text Placeholder 7">
            <a:extLst>
              <a:ext uri="{FF2B5EF4-FFF2-40B4-BE49-F238E27FC236}">
                <a16:creationId xmlns:a16="http://schemas.microsoft.com/office/drawing/2014/main" id="{ED511364-F144-FA9B-9692-FDDDC096FD4E}"/>
              </a:ext>
            </a:extLst>
          </p:cNvPr>
          <p:cNvSpPr txBox="1">
            <a:spLocks/>
          </p:cNvSpPr>
          <p:nvPr/>
        </p:nvSpPr>
        <p:spPr>
          <a:xfrm>
            <a:off x="1210753" y="4793600"/>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WRITING</a:t>
            </a:r>
            <a:endParaRPr lang="nl-NL" sz="2000" b="1">
              <a:latin typeface="Ink Free" panose="03080402000500000000" pitchFamily="66" charset="0"/>
            </a:endParaRPr>
          </a:p>
        </p:txBody>
      </p:sp>
      <p:sp>
        <p:nvSpPr>
          <p:cNvPr id="15" name="Text Placeholder 7">
            <a:extLst>
              <a:ext uri="{FF2B5EF4-FFF2-40B4-BE49-F238E27FC236}">
                <a16:creationId xmlns:a16="http://schemas.microsoft.com/office/drawing/2014/main" id="{096F72ED-B4C8-E1F7-A89D-784D1F74E513}"/>
              </a:ext>
            </a:extLst>
          </p:cNvPr>
          <p:cNvSpPr txBox="1">
            <a:spLocks/>
          </p:cNvSpPr>
          <p:nvPr/>
        </p:nvSpPr>
        <p:spPr>
          <a:xfrm>
            <a:off x="4648395" y="4793600"/>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ADAPTABILITY</a:t>
            </a:r>
            <a:endParaRPr lang="nl-NL" sz="2000" b="1">
              <a:latin typeface="Ink Free" panose="03080402000500000000" pitchFamily="66" charset="0"/>
            </a:endParaRPr>
          </a:p>
        </p:txBody>
      </p:sp>
      <p:sp>
        <p:nvSpPr>
          <p:cNvPr id="16" name="Text Placeholder 7">
            <a:extLst>
              <a:ext uri="{FF2B5EF4-FFF2-40B4-BE49-F238E27FC236}">
                <a16:creationId xmlns:a16="http://schemas.microsoft.com/office/drawing/2014/main" id="{169D93A1-5CD9-5B13-1D9A-606219F1EC30}"/>
              </a:ext>
            </a:extLst>
          </p:cNvPr>
          <p:cNvSpPr txBox="1">
            <a:spLocks/>
          </p:cNvSpPr>
          <p:nvPr/>
        </p:nvSpPr>
        <p:spPr>
          <a:xfrm>
            <a:off x="8086037" y="4793599"/>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DEALING WITH CONFLICT</a:t>
            </a:r>
            <a:endParaRPr lang="nl-NL" sz="2000" b="1">
              <a:latin typeface="Ink Free" panose="03080402000500000000" pitchFamily="66" charset="0"/>
            </a:endParaRPr>
          </a:p>
        </p:txBody>
      </p:sp>
      <p:sp>
        <p:nvSpPr>
          <p:cNvPr id="20" name="Text Placeholder 7">
            <a:extLst>
              <a:ext uri="{FF2B5EF4-FFF2-40B4-BE49-F238E27FC236}">
                <a16:creationId xmlns:a16="http://schemas.microsoft.com/office/drawing/2014/main" id="{96CF5CE2-03A7-69F7-D009-4948CF2127B4}"/>
              </a:ext>
            </a:extLst>
          </p:cNvPr>
          <p:cNvSpPr txBox="1">
            <a:spLocks/>
          </p:cNvSpPr>
          <p:nvPr/>
        </p:nvSpPr>
        <p:spPr>
          <a:xfrm>
            <a:off x="2899656" y="5815299"/>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PUBLIC SPEAKING</a:t>
            </a:r>
            <a:endParaRPr lang="nl-NL" sz="2000" b="1">
              <a:latin typeface="Ink Free" panose="03080402000500000000" pitchFamily="66" charset="0"/>
            </a:endParaRPr>
          </a:p>
        </p:txBody>
      </p:sp>
      <p:sp>
        <p:nvSpPr>
          <p:cNvPr id="21" name="Text Placeholder 7">
            <a:extLst>
              <a:ext uri="{FF2B5EF4-FFF2-40B4-BE49-F238E27FC236}">
                <a16:creationId xmlns:a16="http://schemas.microsoft.com/office/drawing/2014/main" id="{F153B197-66B0-40B9-B510-5348F090FF70}"/>
              </a:ext>
            </a:extLst>
          </p:cNvPr>
          <p:cNvSpPr txBox="1">
            <a:spLocks/>
          </p:cNvSpPr>
          <p:nvPr/>
        </p:nvSpPr>
        <p:spPr>
          <a:xfrm>
            <a:off x="6337299" y="5815298"/>
            <a:ext cx="3038255" cy="722721"/>
          </a:xfrm>
          <a:prstGeom prst="roundRect">
            <a:avLst/>
          </a:prstGeom>
          <a:solidFill>
            <a:schemeClr val="accent4">
              <a:lumMod val="20000"/>
              <a:lumOff val="80000"/>
            </a:schemeClr>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CRITICAL THINKING</a:t>
            </a:r>
            <a:endParaRPr lang="nl-NL" sz="2000" b="1">
              <a:latin typeface="Ink Free" panose="03080402000500000000" pitchFamily="66" charset="0"/>
            </a:endParaRPr>
          </a:p>
        </p:txBody>
      </p:sp>
      <p:sp>
        <p:nvSpPr>
          <p:cNvPr id="13" name="Slide Number Placeholder 12">
            <a:extLst>
              <a:ext uri="{FF2B5EF4-FFF2-40B4-BE49-F238E27FC236}">
                <a16:creationId xmlns:a16="http://schemas.microsoft.com/office/drawing/2014/main" id="{814C7D93-6497-FE64-FF2D-8195EAF7049C}"/>
              </a:ext>
            </a:extLst>
          </p:cNvPr>
          <p:cNvSpPr>
            <a:spLocks noGrp="1"/>
          </p:cNvSpPr>
          <p:nvPr>
            <p:ph type="sldNum" sz="quarter" idx="12"/>
          </p:nvPr>
        </p:nvSpPr>
        <p:spPr/>
        <p:txBody>
          <a:bodyPr/>
          <a:lstStyle/>
          <a:p>
            <a:fld id="{0674757E-06C4-4259-8159-64C08476399D}" type="slidenum">
              <a:rPr lang="nl-NL" smtClean="0"/>
              <a:pPr/>
              <a:t>15</a:t>
            </a:fld>
            <a:endParaRPr lang="nl-NL"/>
          </a:p>
        </p:txBody>
      </p:sp>
    </p:spTree>
    <p:extLst>
      <p:ext uri="{BB962C8B-B14F-4D97-AF65-F5344CB8AC3E}">
        <p14:creationId xmlns:p14="http://schemas.microsoft.com/office/powerpoint/2010/main" val="2418611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3E7888-7C31-F1B8-69F4-C5592C09DFD1}"/>
              </a:ext>
            </a:extLst>
          </p:cNvPr>
          <p:cNvSpPr>
            <a:spLocks noGrp="1"/>
          </p:cNvSpPr>
          <p:nvPr>
            <p:ph type="title"/>
          </p:nvPr>
        </p:nvSpPr>
        <p:spPr/>
        <p:txBody>
          <a:bodyPr/>
          <a:lstStyle/>
          <a:p>
            <a:r>
              <a:rPr lang="nl-NL"/>
              <a:t>WHY IS THIS IMPORTANT?</a:t>
            </a:r>
          </a:p>
        </p:txBody>
      </p:sp>
      <p:sp>
        <p:nvSpPr>
          <p:cNvPr id="5" name="Text Placeholder 4">
            <a:extLst>
              <a:ext uri="{FF2B5EF4-FFF2-40B4-BE49-F238E27FC236}">
                <a16:creationId xmlns:a16="http://schemas.microsoft.com/office/drawing/2014/main" id="{F9E74F34-5A93-7E37-9F25-C47459C41689}"/>
              </a:ext>
            </a:extLst>
          </p:cNvPr>
          <p:cNvSpPr>
            <a:spLocks noGrp="1"/>
          </p:cNvSpPr>
          <p:nvPr>
            <p:ph type="body" sz="quarter" idx="11"/>
          </p:nvPr>
        </p:nvSpPr>
        <p:spPr>
          <a:xfrm>
            <a:off x="3186389" y="1687401"/>
            <a:ext cx="6259270" cy="2271860"/>
          </a:xfrm>
        </p:spPr>
        <p:txBody>
          <a:bodyPr/>
          <a:lstStyle/>
          <a:p>
            <a:r>
              <a:rPr lang="en-US" sz="2400" b="0"/>
              <a:t>When you apply for a job, it is the Personality Traits and Transferable Skills your employer will be interested in. What do you bring to the business? What are your strengths and weaknesses? How do you add value to the employer?</a:t>
            </a:r>
          </a:p>
          <a:p>
            <a:endParaRPr lang="nl-NL" sz="2400" b="0"/>
          </a:p>
        </p:txBody>
      </p:sp>
      <p:sp>
        <p:nvSpPr>
          <p:cNvPr id="6" name="Text Placeholder 4">
            <a:extLst>
              <a:ext uri="{FF2B5EF4-FFF2-40B4-BE49-F238E27FC236}">
                <a16:creationId xmlns:a16="http://schemas.microsoft.com/office/drawing/2014/main" id="{100CE677-48DA-34D2-ABE2-AC010A9C8C52}"/>
              </a:ext>
            </a:extLst>
          </p:cNvPr>
          <p:cNvSpPr txBox="1">
            <a:spLocks/>
          </p:cNvSpPr>
          <p:nvPr/>
        </p:nvSpPr>
        <p:spPr>
          <a:xfrm>
            <a:off x="3186388" y="3959261"/>
            <a:ext cx="8399153" cy="22718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Ink Free" panose="03080402000500000000" pitchFamily="66"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nk Free" panose="03080402000500000000" pitchFamily="66"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nk Free" panose="03080402000500000000" pitchFamily="66"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k Free" panose="03080402000500000000" pitchFamily="66"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k Free" panose="03080402000500000000" pitchFamily="66"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0"/>
              <a:t>So, reflecting on and knowing about your strengths and weaknesses will help you understand your development needs, but it will surely help you with your CV writing, your applications and job interviews, selecting the right employer and job role and with all that ... your career development.</a:t>
            </a:r>
          </a:p>
          <a:p>
            <a:endParaRPr lang="nl-NL" sz="2400" b="0"/>
          </a:p>
        </p:txBody>
      </p:sp>
      <p:sp>
        <p:nvSpPr>
          <p:cNvPr id="2" name="Slide Number Placeholder 1">
            <a:extLst>
              <a:ext uri="{FF2B5EF4-FFF2-40B4-BE49-F238E27FC236}">
                <a16:creationId xmlns:a16="http://schemas.microsoft.com/office/drawing/2014/main" id="{BBDD7CD6-989D-4C56-E4FF-4AD36B5783F9}"/>
              </a:ext>
            </a:extLst>
          </p:cNvPr>
          <p:cNvSpPr>
            <a:spLocks noGrp="1"/>
          </p:cNvSpPr>
          <p:nvPr>
            <p:ph type="sldNum" sz="quarter" idx="12"/>
          </p:nvPr>
        </p:nvSpPr>
        <p:spPr/>
        <p:txBody>
          <a:bodyPr/>
          <a:lstStyle/>
          <a:p>
            <a:fld id="{0674757E-06C4-4259-8159-64C08476399D}" type="slidenum">
              <a:rPr lang="nl-NL" smtClean="0"/>
              <a:pPr/>
              <a:t>16</a:t>
            </a:fld>
            <a:endParaRPr lang="nl-NL"/>
          </a:p>
        </p:txBody>
      </p:sp>
    </p:spTree>
    <p:extLst>
      <p:ext uri="{BB962C8B-B14F-4D97-AF65-F5344CB8AC3E}">
        <p14:creationId xmlns:p14="http://schemas.microsoft.com/office/powerpoint/2010/main" val="3868346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4A7990-78B0-1434-1E4C-9BB413E17A16}"/>
              </a:ext>
            </a:extLst>
          </p:cNvPr>
          <p:cNvSpPr>
            <a:spLocks noGrp="1"/>
          </p:cNvSpPr>
          <p:nvPr>
            <p:ph type="title"/>
          </p:nvPr>
        </p:nvSpPr>
        <p:spPr>
          <a:xfrm>
            <a:off x="163534" y="62654"/>
            <a:ext cx="10941241" cy="706438"/>
          </a:xfrm>
        </p:spPr>
        <p:txBody>
          <a:bodyPr>
            <a:normAutofit/>
          </a:bodyPr>
          <a:lstStyle/>
          <a:p>
            <a:r>
              <a:rPr lang="nl-NL"/>
              <a:t>LOGISTICS AS AN EXAMPLE – BUZZ WORDS</a:t>
            </a:r>
          </a:p>
        </p:txBody>
      </p:sp>
      <p:pic>
        <p:nvPicPr>
          <p:cNvPr id="7" name="Picture Placeholder 34" descr="A picture containing sky, smoke, fighter&#10;&#10;Description automatically generated">
            <a:extLst>
              <a:ext uri="{FF2B5EF4-FFF2-40B4-BE49-F238E27FC236}">
                <a16:creationId xmlns:a16="http://schemas.microsoft.com/office/drawing/2014/main" id="{8BE919AC-0F4A-15EA-F6FC-56E94AA3DD9C}"/>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26764" t="1253" r="21716" b="611"/>
          <a:stretch/>
        </p:blipFill>
        <p:spPr>
          <a:xfrm>
            <a:off x="-200536" y="3878440"/>
            <a:ext cx="3099286" cy="3099286"/>
          </a:xfrm>
        </p:spPr>
      </p:pic>
      <p:pic>
        <p:nvPicPr>
          <p:cNvPr id="8" name="Picture 2">
            <a:extLst>
              <a:ext uri="{FF2B5EF4-FFF2-40B4-BE49-F238E27FC236}">
                <a16:creationId xmlns:a16="http://schemas.microsoft.com/office/drawing/2014/main" id="{E19CA07B-01C7-C734-348E-3E3FF50A2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9926816" y="3370910"/>
            <a:ext cx="734978" cy="5075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7">
            <a:extLst>
              <a:ext uri="{FF2B5EF4-FFF2-40B4-BE49-F238E27FC236}">
                <a16:creationId xmlns:a16="http://schemas.microsoft.com/office/drawing/2014/main" id="{569568A7-54E8-E819-9E3A-C184B31D9917}"/>
              </a:ext>
            </a:extLst>
          </p:cNvPr>
          <p:cNvSpPr txBox="1">
            <a:spLocks/>
          </p:cNvSpPr>
          <p:nvPr/>
        </p:nvSpPr>
        <p:spPr>
          <a:xfrm>
            <a:off x="2350274" y="1000173"/>
            <a:ext cx="2920451" cy="1000537"/>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SEA TRANSPORT</a:t>
            </a:r>
            <a:endParaRPr lang="nl-NL" sz="2400" b="1">
              <a:latin typeface="Ink Free" panose="03080402000500000000" pitchFamily="66" charset="0"/>
            </a:endParaRPr>
          </a:p>
        </p:txBody>
      </p:sp>
      <p:sp>
        <p:nvSpPr>
          <p:cNvPr id="10" name="Text Placeholder 7">
            <a:extLst>
              <a:ext uri="{FF2B5EF4-FFF2-40B4-BE49-F238E27FC236}">
                <a16:creationId xmlns:a16="http://schemas.microsoft.com/office/drawing/2014/main" id="{26211118-F5A8-C958-F33B-BD83DDDBCF3C}"/>
              </a:ext>
            </a:extLst>
          </p:cNvPr>
          <p:cNvSpPr txBox="1">
            <a:spLocks/>
          </p:cNvSpPr>
          <p:nvPr/>
        </p:nvSpPr>
        <p:spPr>
          <a:xfrm>
            <a:off x="9464151" y="4331929"/>
            <a:ext cx="2395287" cy="624367"/>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TRANSPORT</a:t>
            </a:r>
            <a:endParaRPr lang="nl-NL" sz="2400" b="1">
              <a:latin typeface="Ink Free" panose="03080402000500000000" pitchFamily="66" charset="0"/>
            </a:endParaRPr>
          </a:p>
        </p:txBody>
      </p:sp>
      <p:sp>
        <p:nvSpPr>
          <p:cNvPr id="11" name="Text Placeholder 7">
            <a:extLst>
              <a:ext uri="{FF2B5EF4-FFF2-40B4-BE49-F238E27FC236}">
                <a16:creationId xmlns:a16="http://schemas.microsoft.com/office/drawing/2014/main" id="{B671D928-B693-8E31-AD4F-1E15907D524F}"/>
              </a:ext>
            </a:extLst>
          </p:cNvPr>
          <p:cNvSpPr txBox="1">
            <a:spLocks/>
          </p:cNvSpPr>
          <p:nvPr/>
        </p:nvSpPr>
        <p:spPr>
          <a:xfrm>
            <a:off x="3670525" y="2724970"/>
            <a:ext cx="1600200" cy="777188"/>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CARGO</a:t>
            </a:r>
            <a:endParaRPr lang="nl-NL" sz="2400" b="1">
              <a:latin typeface="Ink Free" panose="03080402000500000000" pitchFamily="66" charset="0"/>
            </a:endParaRPr>
          </a:p>
        </p:txBody>
      </p:sp>
      <p:sp>
        <p:nvSpPr>
          <p:cNvPr id="12" name="Text Placeholder 7">
            <a:extLst>
              <a:ext uri="{FF2B5EF4-FFF2-40B4-BE49-F238E27FC236}">
                <a16:creationId xmlns:a16="http://schemas.microsoft.com/office/drawing/2014/main" id="{FDC5A86F-0EF2-E23D-8453-A156AFD462AC}"/>
              </a:ext>
            </a:extLst>
          </p:cNvPr>
          <p:cNvSpPr txBox="1">
            <a:spLocks/>
          </p:cNvSpPr>
          <p:nvPr/>
        </p:nvSpPr>
        <p:spPr>
          <a:xfrm>
            <a:off x="9496421" y="5632800"/>
            <a:ext cx="1970065" cy="516217"/>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DRIVERS</a:t>
            </a:r>
            <a:endParaRPr lang="nl-NL" sz="2400" b="1">
              <a:latin typeface="Ink Free" panose="03080402000500000000" pitchFamily="66" charset="0"/>
            </a:endParaRPr>
          </a:p>
        </p:txBody>
      </p:sp>
      <p:sp>
        <p:nvSpPr>
          <p:cNvPr id="13" name="Text Placeholder 7">
            <a:extLst>
              <a:ext uri="{FF2B5EF4-FFF2-40B4-BE49-F238E27FC236}">
                <a16:creationId xmlns:a16="http://schemas.microsoft.com/office/drawing/2014/main" id="{22A17F2A-4256-905F-516F-A37804E8EF6B}"/>
              </a:ext>
            </a:extLst>
          </p:cNvPr>
          <p:cNvSpPr txBox="1">
            <a:spLocks/>
          </p:cNvSpPr>
          <p:nvPr/>
        </p:nvSpPr>
        <p:spPr>
          <a:xfrm>
            <a:off x="7485750" y="727425"/>
            <a:ext cx="3505904" cy="911318"/>
          </a:xfrm>
          <a:prstGeom prst="roundRect">
            <a:avLst/>
          </a:prstGeom>
          <a:solidFill>
            <a:schemeClr val="bg1"/>
          </a:solidFill>
          <a:effectLst>
            <a:glow rad="63500">
              <a:schemeClr val="accent3">
                <a:satMod val="175000"/>
                <a:alpha val="40000"/>
              </a:schemeClr>
            </a:glow>
          </a:effectLst>
        </p:spPr>
        <p:txBody>
          <a:bodyPr anchor="ctr"/>
          <a:lstStyle>
            <a:defPPr>
              <a:defRPr lang="nl-NL"/>
            </a:defPPr>
            <a:lvl1pPr indent="0">
              <a:lnSpc>
                <a:spcPct val="90000"/>
              </a:lnSpc>
              <a:spcBef>
                <a:spcPts val="1000"/>
              </a:spcBef>
              <a:buFont typeface="Arial" panose="020B0604020202020204" pitchFamily="34" charset="0"/>
              <a:buNone/>
              <a:defRPr sz="3200" b="1">
                <a:latin typeface="Ink Free" panose="03080402000500000000" pitchFamily="66"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400"/>
              <a:t>PLAINS, TRAINS AND AUTOMOBILES</a:t>
            </a:r>
            <a:endParaRPr lang="nl-NL" sz="2400"/>
          </a:p>
        </p:txBody>
      </p:sp>
      <p:sp>
        <p:nvSpPr>
          <p:cNvPr id="14" name="Text Placeholder 7">
            <a:extLst>
              <a:ext uri="{FF2B5EF4-FFF2-40B4-BE49-F238E27FC236}">
                <a16:creationId xmlns:a16="http://schemas.microsoft.com/office/drawing/2014/main" id="{EF8CC009-D15D-BF35-CF19-0C61447DEF52}"/>
              </a:ext>
            </a:extLst>
          </p:cNvPr>
          <p:cNvSpPr txBox="1">
            <a:spLocks/>
          </p:cNvSpPr>
          <p:nvPr/>
        </p:nvSpPr>
        <p:spPr>
          <a:xfrm>
            <a:off x="5573321" y="3733363"/>
            <a:ext cx="3231697" cy="972819"/>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FROM HERE TO THERE (A TO B)</a:t>
            </a:r>
            <a:endParaRPr lang="nl-NL" sz="2400" b="1">
              <a:latin typeface="Ink Free" panose="03080402000500000000" pitchFamily="66" charset="0"/>
            </a:endParaRPr>
          </a:p>
        </p:txBody>
      </p:sp>
      <p:sp>
        <p:nvSpPr>
          <p:cNvPr id="15" name="Text Placeholder 7">
            <a:extLst>
              <a:ext uri="{FF2B5EF4-FFF2-40B4-BE49-F238E27FC236}">
                <a16:creationId xmlns:a16="http://schemas.microsoft.com/office/drawing/2014/main" id="{BFDDD2D0-D6DD-2B48-D086-B6667B757F7F}"/>
              </a:ext>
            </a:extLst>
          </p:cNvPr>
          <p:cNvSpPr txBox="1">
            <a:spLocks/>
          </p:cNvSpPr>
          <p:nvPr/>
        </p:nvSpPr>
        <p:spPr>
          <a:xfrm>
            <a:off x="6685650" y="2437396"/>
            <a:ext cx="1600200" cy="6596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a:solidFill>
                  <a:srgbClr val="C00000"/>
                </a:solidFill>
                <a:latin typeface="Ink Free" panose="03080402000500000000" pitchFamily="66" charset="0"/>
              </a:rPr>
              <a:t>DPDHL</a:t>
            </a:r>
            <a:endParaRPr lang="nl-NL" sz="2400" b="1">
              <a:solidFill>
                <a:srgbClr val="C00000"/>
              </a:solidFill>
              <a:latin typeface="Ink Free" panose="03080402000500000000" pitchFamily="66" charset="0"/>
            </a:endParaRPr>
          </a:p>
        </p:txBody>
      </p:sp>
      <p:sp>
        <p:nvSpPr>
          <p:cNvPr id="16" name="Text Placeholder 7">
            <a:extLst>
              <a:ext uri="{FF2B5EF4-FFF2-40B4-BE49-F238E27FC236}">
                <a16:creationId xmlns:a16="http://schemas.microsoft.com/office/drawing/2014/main" id="{7908643E-AC79-A712-5F0C-496EDBF8AC92}"/>
              </a:ext>
            </a:extLst>
          </p:cNvPr>
          <p:cNvSpPr txBox="1">
            <a:spLocks/>
          </p:cNvSpPr>
          <p:nvPr/>
        </p:nvSpPr>
        <p:spPr>
          <a:xfrm>
            <a:off x="5006940" y="5596986"/>
            <a:ext cx="2597101" cy="972818"/>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ROAD TRANSPORT</a:t>
            </a:r>
            <a:endParaRPr lang="nl-NL" sz="2400" b="1">
              <a:latin typeface="Ink Free" panose="03080402000500000000" pitchFamily="66" charset="0"/>
            </a:endParaRPr>
          </a:p>
        </p:txBody>
      </p:sp>
      <p:sp>
        <p:nvSpPr>
          <p:cNvPr id="17" name="Text Placeholder 7">
            <a:extLst>
              <a:ext uri="{FF2B5EF4-FFF2-40B4-BE49-F238E27FC236}">
                <a16:creationId xmlns:a16="http://schemas.microsoft.com/office/drawing/2014/main" id="{341CF10A-B52C-A54B-364C-4B8329371CF4}"/>
              </a:ext>
            </a:extLst>
          </p:cNvPr>
          <p:cNvSpPr txBox="1">
            <a:spLocks/>
          </p:cNvSpPr>
          <p:nvPr/>
        </p:nvSpPr>
        <p:spPr>
          <a:xfrm>
            <a:off x="9464151" y="2092232"/>
            <a:ext cx="2484604" cy="963932"/>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latin typeface="Ink Free" panose="03080402000500000000" pitchFamily="66" charset="0"/>
              </a:rPr>
              <a:t>AIR TRANSPORT</a:t>
            </a:r>
            <a:endParaRPr lang="nl-NL" sz="2400" b="1">
              <a:latin typeface="Ink Free" panose="03080402000500000000" pitchFamily="66" charset="0"/>
            </a:endParaRPr>
          </a:p>
        </p:txBody>
      </p:sp>
      <p:pic>
        <p:nvPicPr>
          <p:cNvPr id="18" name="Picture 2">
            <a:extLst>
              <a:ext uri="{FF2B5EF4-FFF2-40B4-BE49-F238E27FC236}">
                <a16:creationId xmlns:a16="http://schemas.microsoft.com/office/drawing/2014/main" id="{25BF077B-C7BE-4F4A-1BB4-C6E8630284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8001" y="1489932"/>
            <a:ext cx="734978" cy="50753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0CF4EE5-ECB2-D72A-1DFC-1CC7B4997B23}"/>
              </a:ext>
            </a:extLst>
          </p:cNvPr>
          <p:cNvSpPr>
            <a:spLocks noGrp="1"/>
          </p:cNvSpPr>
          <p:nvPr>
            <p:ph type="sldNum" sz="quarter" idx="12"/>
          </p:nvPr>
        </p:nvSpPr>
        <p:spPr/>
        <p:txBody>
          <a:bodyPr/>
          <a:lstStyle/>
          <a:p>
            <a:fld id="{0674757E-06C4-4259-8159-64C08476399D}" type="slidenum">
              <a:rPr lang="nl-NL" smtClean="0"/>
              <a:pPr/>
              <a:t>17</a:t>
            </a:fld>
            <a:endParaRPr lang="nl-NL"/>
          </a:p>
        </p:txBody>
      </p:sp>
    </p:spTree>
    <p:extLst>
      <p:ext uri="{BB962C8B-B14F-4D97-AF65-F5344CB8AC3E}">
        <p14:creationId xmlns:p14="http://schemas.microsoft.com/office/powerpoint/2010/main" val="501364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322696-1021-2398-393F-F62E32171ACB}"/>
              </a:ext>
            </a:extLst>
          </p:cNvPr>
          <p:cNvSpPr>
            <a:spLocks noGrp="1"/>
          </p:cNvSpPr>
          <p:nvPr>
            <p:ph type="title"/>
          </p:nvPr>
        </p:nvSpPr>
        <p:spPr/>
        <p:txBody>
          <a:bodyPr/>
          <a:lstStyle/>
          <a:p>
            <a:r>
              <a:rPr lang="nl-NL"/>
              <a:t>A CAREER IN LOGISTICS</a:t>
            </a:r>
          </a:p>
        </p:txBody>
      </p:sp>
      <p:sp>
        <p:nvSpPr>
          <p:cNvPr id="13" name="Text Placeholder 3">
            <a:extLst>
              <a:ext uri="{FF2B5EF4-FFF2-40B4-BE49-F238E27FC236}">
                <a16:creationId xmlns:a16="http://schemas.microsoft.com/office/drawing/2014/main" id="{60D9CDB7-8FB9-A8C4-9300-83C6FC5DDEAB}"/>
              </a:ext>
            </a:extLst>
          </p:cNvPr>
          <p:cNvSpPr>
            <a:spLocks noGrp="1"/>
          </p:cNvSpPr>
          <p:nvPr>
            <p:ph type="body" sz="quarter" idx="10"/>
          </p:nvPr>
        </p:nvSpPr>
        <p:spPr>
          <a:xfrm>
            <a:off x="1886455" y="1750950"/>
            <a:ext cx="6540302" cy="525458"/>
          </a:xfrm>
        </p:spPr>
        <p:txBody>
          <a:bodyPr/>
          <a:lstStyle/>
          <a:p>
            <a:r>
              <a:rPr lang="nl-NL"/>
              <a:t>Working in groups of 4</a:t>
            </a:r>
          </a:p>
        </p:txBody>
      </p:sp>
      <p:sp>
        <p:nvSpPr>
          <p:cNvPr id="14" name="Text Placeholder 4">
            <a:extLst>
              <a:ext uri="{FF2B5EF4-FFF2-40B4-BE49-F238E27FC236}">
                <a16:creationId xmlns:a16="http://schemas.microsoft.com/office/drawing/2014/main" id="{76AE0B64-A4D7-6805-29B4-9007C23D8C7F}"/>
              </a:ext>
            </a:extLst>
          </p:cNvPr>
          <p:cNvSpPr>
            <a:spLocks noGrp="1"/>
          </p:cNvSpPr>
          <p:nvPr>
            <p:ph type="body" sz="quarter" idx="11"/>
          </p:nvPr>
        </p:nvSpPr>
        <p:spPr>
          <a:xfrm>
            <a:off x="1879600" y="5203901"/>
            <a:ext cx="7334511" cy="525458"/>
          </a:xfrm>
        </p:spPr>
        <p:txBody>
          <a:bodyPr/>
          <a:lstStyle/>
          <a:p>
            <a:r>
              <a:rPr lang="nl-NL"/>
              <a:t>10 to 15 minutes</a:t>
            </a:r>
          </a:p>
        </p:txBody>
      </p:sp>
      <p:sp>
        <p:nvSpPr>
          <p:cNvPr id="15" name="Text Placeholder 5">
            <a:extLst>
              <a:ext uri="{FF2B5EF4-FFF2-40B4-BE49-F238E27FC236}">
                <a16:creationId xmlns:a16="http://schemas.microsoft.com/office/drawing/2014/main" id="{C4E1C5C6-D40A-4E44-2A55-723E5F394977}"/>
              </a:ext>
            </a:extLst>
          </p:cNvPr>
          <p:cNvSpPr>
            <a:spLocks noGrp="1"/>
          </p:cNvSpPr>
          <p:nvPr>
            <p:ph type="body" sz="quarter" idx="12"/>
          </p:nvPr>
        </p:nvSpPr>
        <p:spPr>
          <a:xfrm>
            <a:off x="1879600" y="2963177"/>
            <a:ext cx="7334511" cy="1547004"/>
          </a:xfrm>
        </p:spPr>
        <p:txBody>
          <a:bodyPr/>
          <a:lstStyle/>
          <a:p>
            <a:r>
              <a:rPr lang="nl-NL"/>
              <a:t>In your group, for your assigned job role, define:</a:t>
            </a:r>
          </a:p>
          <a:p>
            <a:pPr marL="342900" indent="-342900">
              <a:buFont typeface="Ink Free" panose="03080402000500000000" pitchFamily="66" charset="0"/>
              <a:buChar char="•"/>
            </a:pPr>
            <a:r>
              <a:rPr lang="en-US" sz="2000"/>
              <a:t>What transferable skills and personality traits would be required? (TOP 3 of each)</a:t>
            </a:r>
          </a:p>
          <a:p>
            <a:pPr marL="342900" indent="-342900">
              <a:buFont typeface="Ink Free" panose="03080402000500000000" pitchFamily="66" charset="0"/>
              <a:buChar char="•"/>
            </a:pPr>
            <a:r>
              <a:rPr lang="en-US" sz="2000"/>
              <a:t>How do you think these add to success?</a:t>
            </a:r>
            <a:endParaRPr lang="nl-NL" sz="2000"/>
          </a:p>
        </p:txBody>
      </p:sp>
      <p:pic>
        <p:nvPicPr>
          <p:cNvPr id="16" name="Picture Placeholder 8" descr="A picture containing sky, smoke, fighter&#10;&#10;Description automatically generated">
            <a:extLst>
              <a:ext uri="{FF2B5EF4-FFF2-40B4-BE49-F238E27FC236}">
                <a16:creationId xmlns:a16="http://schemas.microsoft.com/office/drawing/2014/main" id="{2397CECE-FD20-87A6-A78B-40791DFE145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3750" r="23750"/>
          <a:stretch>
            <a:fillRect/>
          </a:stretch>
        </p:blipFill>
        <p:spPr>
          <a:xfrm>
            <a:off x="8654777" y="-346796"/>
            <a:ext cx="3892823" cy="3892823"/>
          </a:xfrm>
        </p:spPr>
      </p:pic>
      <p:sp>
        <p:nvSpPr>
          <p:cNvPr id="2" name="Slide Number Placeholder 1">
            <a:extLst>
              <a:ext uri="{FF2B5EF4-FFF2-40B4-BE49-F238E27FC236}">
                <a16:creationId xmlns:a16="http://schemas.microsoft.com/office/drawing/2014/main" id="{FB7D4A3F-4137-E79A-7064-18ACFD5004B6}"/>
              </a:ext>
            </a:extLst>
          </p:cNvPr>
          <p:cNvSpPr>
            <a:spLocks noGrp="1"/>
          </p:cNvSpPr>
          <p:nvPr>
            <p:ph type="sldNum" sz="quarter" idx="14"/>
          </p:nvPr>
        </p:nvSpPr>
        <p:spPr/>
        <p:txBody>
          <a:bodyPr/>
          <a:lstStyle/>
          <a:p>
            <a:fld id="{0674757E-06C4-4259-8159-64C08476399D}" type="slidenum">
              <a:rPr lang="nl-NL" smtClean="0"/>
              <a:pPr/>
              <a:t>18</a:t>
            </a:fld>
            <a:endParaRPr lang="nl-NL"/>
          </a:p>
        </p:txBody>
      </p:sp>
    </p:spTree>
    <p:extLst>
      <p:ext uri="{BB962C8B-B14F-4D97-AF65-F5344CB8AC3E}">
        <p14:creationId xmlns:p14="http://schemas.microsoft.com/office/powerpoint/2010/main" val="4039378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BA666C-E305-0C7F-AEFA-8657CCAEC401}"/>
              </a:ext>
            </a:extLst>
          </p:cNvPr>
          <p:cNvSpPr>
            <a:spLocks noGrp="1"/>
          </p:cNvSpPr>
          <p:nvPr>
            <p:ph type="title"/>
          </p:nvPr>
        </p:nvSpPr>
        <p:spPr>
          <a:xfrm>
            <a:off x="163534" y="62654"/>
            <a:ext cx="9526566" cy="706438"/>
          </a:xfrm>
        </p:spPr>
        <p:txBody>
          <a:bodyPr/>
          <a:lstStyle/>
          <a:p>
            <a:r>
              <a:rPr lang="nl-NL"/>
              <a:t>JOB TITLE – </a:t>
            </a:r>
            <a:r>
              <a:rPr lang="nl-NL">
                <a:solidFill>
                  <a:schemeClr val="accent4">
                    <a:lumMod val="75000"/>
                  </a:schemeClr>
                </a:solidFill>
              </a:rPr>
              <a:t>HEAVY GOODS VEHICLE DRIVER</a:t>
            </a:r>
          </a:p>
        </p:txBody>
      </p:sp>
      <p:sp>
        <p:nvSpPr>
          <p:cNvPr id="6" name="Text Placeholder 7">
            <a:extLst>
              <a:ext uri="{FF2B5EF4-FFF2-40B4-BE49-F238E27FC236}">
                <a16:creationId xmlns:a16="http://schemas.microsoft.com/office/drawing/2014/main" id="{7EC3259D-5E82-D409-A607-7CC70861AFF6}"/>
              </a:ext>
            </a:extLst>
          </p:cNvPr>
          <p:cNvSpPr txBox="1">
            <a:spLocks/>
          </p:cNvSpPr>
          <p:nvPr/>
        </p:nvSpPr>
        <p:spPr>
          <a:xfrm>
            <a:off x="1181098" y="444648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7" name="Text Placeholder 7">
            <a:extLst>
              <a:ext uri="{FF2B5EF4-FFF2-40B4-BE49-F238E27FC236}">
                <a16:creationId xmlns:a16="http://schemas.microsoft.com/office/drawing/2014/main" id="{FD8EAB30-54B6-6AA3-ABB5-817B8639B3AB}"/>
              </a:ext>
            </a:extLst>
          </p:cNvPr>
          <p:cNvSpPr txBox="1">
            <a:spLocks/>
          </p:cNvSpPr>
          <p:nvPr/>
        </p:nvSpPr>
        <p:spPr>
          <a:xfrm>
            <a:off x="317498" y="3103116"/>
            <a:ext cx="11710967" cy="81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latin typeface="Ink Free" panose="03080402000500000000" pitchFamily="66" charset="0"/>
              </a:rPr>
              <a:t>WHAT PERSONALITY TRAITS AND TRANSFERABLE SKILLS ARE NEEDED? TOP 3 OF EACH</a:t>
            </a:r>
          </a:p>
        </p:txBody>
      </p:sp>
      <p:sp>
        <p:nvSpPr>
          <p:cNvPr id="8" name="Text Placeholder 7">
            <a:extLst>
              <a:ext uri="{FF2B5EF4-FFF2-40B4-BE49-F238E27FC236}">
                <a16:creationId xmlns:a16="http://schemas.microsoft.com/office/drawing/2014/main" id="{43971BDC-3FF4-6053-D524-25369EE90958}"/>
              </a:ext>
            </a:extLst>
          </p:cNvPr>
          <p:cNvSpPr txBox="1">
            <a:spLocks/>
          </p:cNvSpPr>
          <p:nvPr/>
        </p:nvSpPr>
        <p:spPr>
          <a:xfrm>
            <a:off x="317498" y="444648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1</a:t>
            </a:r>
            <a:endParaRPr lang="nl-NL" sz="2000" b="1">
              <a:latin typeface="Ink Free" panose="03080402000500000000" pitchFamily="66" charset="0"/>
            </a:endParaRPr>
          </a:p>
        </p:txBody>
      </p:sp>
      <p:sp>
        <p:nvSpPr>
          <p:cNvPr id="9" name="Text Placeholder 7">
            <a:extLst>
              <a:ext uri="{FF2B5EF4-FFF2-40B4-BE49-F238E27FC236}">
                <a16:creationId xmlns:a16="http://schemas.microsoft.com/office/drawing/2014/main" id="{D914C360-31CB-D287-63C3-52EBBBA75480}"/>
              </a:ext>
            </a:extLst>
          </p:cNvPr>
          <p:cNvSpPr txBox="1">
            <a:spLocks/>
          </p:cNvSpPr>
          <p:nvPr/>
        </p:nvSpPr>
        <p:spPr>
          <a:xfrm>
            <a:off x="1181098" y="4030867"/>
            <a:ext cx="4102884" cy="44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solidFill>
                  <a:srgbClr val="00AEEF"/>
                </a:solidFill>
                <a:latin typeface="Ink Free" panose="03080402000500000000" pitchFamily="66" charset="0"/>
              </a:rPr>
              <a:t>PERSONALITY TRAITS</a:t>
            </a:r>
          </a:p>
        </p:txBody>
      </p:sp>
      <p:sp>
        <p:nvSpPr>
          <p:cNvPr id="10" name="Text Placeholder 7">
            <a:extLst>
              <a:ext uri="{FF2B5EF4-FFF2-40B4-BE49-F238E27FC236}">
                <a16:creationId xmlns:a16="http://schemas.microsoft.com/office/drawing/2014/main" id="{D9273CF2-CBF7-3007-E1D0-8EC55E23FFB1}"/>
              </a:ext>
            </a:extLst>
          </p:cNvPr>
          <p:cNvSpPr txBox="1">
            <a:spLocks/>
          </p:cNvSpPr>
          <p:nvPr/>
        </p:nvSpPr>
        <p:spPr>
          <a:xfrm>
            <a:off x="1181098" y="5127341"/>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1" name="Text Placeholder 7">
            <a:extLst>
              <a:ext uri="{FF2B5EF4-FFF2-40B4-BE49-F238E27FC236}">
                <a16:creationId xmlns:a16="http://schemas.microsoft.com/office/drawing/2014/main" id="{D9FB36ED-AF5B-8666-F13B-B1C381DE805D}"/>
              </a:ext>
            </a:extLst>
          </p:cNvPr>
          <p:cNvSpPr txBox="1">
            <a:spLocks/>
          </p:cNvSpPr>
          <p:nvPr/>
        </p:nvSpPr>
        <p:spPr>
          <a:xfrm>
            <a:off x="317498" y="5127341"/>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2</a:t>
            </a:r>
            <a:endParaRPr lang="nl-NL" sz="2000" b="1">
              <a:latin typeface="Ink Free" panose="03080402000500000000" pitchFamily="66" charset="0"/>
            </a:endParaRPr>
          </a:p>
        </p:txBody>
      </p:sp>
      <p:sp>
        <p:nvSpPr>
          <p:cNvPr id="12" name="Text Placeholder 7">
            <a:extLst>
              <a:ext uri="{FF2B5EF4-FFF2-40B4-BE49-F238E27FC236}">
                <a16:creationId xmlns:a16="http://schemas.microsoft.com/office/drawing/2014/main" id="{0FB54693-47D9-6C0B-39AE-6C50BBDC7624}"/>
              </a:ext>
            </a:extLst>
          </p:cNvPr>
          <p:cNvSpPr txBox="1">
            <a:spLocks/>
          </p:cNvSpPr>
          <p:nvPr/>
        </p:nvSpPr>
        <p:spPr>
          <a:xfrm>
            <a:off x="1181098" y="582089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3" name="Text Placeholder 7">
            <a:extLst>
              <a:ext uri="{FF2B5EF4-FFF2-40B4-BE49-F238E27FC236}">
                <a16:creationId xmlns:a16="http://schemas.microsoft.com/office/drawing/2014/main" id="{73971084-EDDC-F090-68CB-3BBE418BF4DB}"/>
              </a:ext>
            </a:extLst>
          </p:cNvPr>
          <p:cNvSpPr txBox="1">
            <a:spLocks/>
          </p:cNvSpPr>
          <p:nvPr/>
        </p:nvSpPr>
        <p:spPr>
          <a:xfrm>
            <a:off x="317498" y="582089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3</a:t>
            </a:r>
            <a:endParaRPr lang="nl-NL" sz="2000" b="1">
              <a:latin typeface="Ink Free" panose="03080402000500000000" pitchFamily="66" charset="0"/>
            </a:endParaRPr>
          </a:p>
        </p:txBody>
      </p:sp>
      <p:sp>
        <p:nvSpPr>
          <p:cNvPr id="14" name="Text Placeholder 7">
            <a:extLst>
              <a:ext uri="{FF2B5EF4-FFF2-40B4-BE49-F238E27FC236}">
                <a16:creationId xmlns:a16="http://schemas.microsoft.com/office/drawing/2014/main" id="{EC15125C-EBED-3ED9-D288-61F0FCAEF67A}"/>
              </a:ext>
            </a:extLst>
          </p:cNvPr>
          <p:cNvSpPr txBox="1">
            <a:spLocks/>
          </p:cNvSpPr>
          <p:nvPr/>
        </p:nvSpPr>
        <p:spPr>
          <a:xfrm>
            <a:off x="7560752" y="444648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5" name="Text Placeholder 7">
            <a:extLst>
              <a:ext uri="{FF2B5EF4-FFF2-40B4-BE49-F238E27FC236}">
                <a16:creationId xmlns:a16="http://schemas.microsoft.com/office/drawing/2014/main" id="{6AA285F3-2B0E-29B1-7DD1-EED37D059CA0}"/>
              </a:ext>
            </a:extLst>
          </p:cNvPr>
          <p:cNvSpPr txBox="1">
            <a:spLocks/>
          </p:cNvSpPr>
          <p:nvPr/>
        </p:nvSpPr>
        <p:spPr>
          <a:xfrm>
            <a:off x="6697152" y="444648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1</a:t>
            </a:r>
            <a:endParaRPr lang="nl-NL" sz="2000" b="1">
              <a:latin typeface="Ink Free" panose="03080402000500000000" pitchFamily="66" charset="0"/>
            </a:endParaRPr>
          </a:p>
        </p:txBody>
      </p:sp>
      <p:sp>
        <p:nvSpPr>
          <p:cNvPr id="16" name="Text Placeholder 7">
            <a:extLst>
              <a:ext uri="{FF2B5EF4-FFF2-40B4-BE49-F238E27FC236}">
                <a16:creationId xmlns:a16="http://schemas.microsoft.com/office/drawing/2014/main" id="{B22A1FF4-0925-C8C8-B5C5-DC9CE1B91DDE}"/>
              </a:ext>
            </a:extLst>
          </p:cNvPr>
          <p:cNvSpPr txBox="1">
            <a:spLocks/>
          </p:cNvSpPr>
          <p:nvPr/>
        </p:nvSpPr>
        <p:spPr>
          <a:xfrm>
            <a:off x="7560752" y="4030867"/>
            <a:ext cx="4102884" cy="44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solidFill>
                  <a:srgbClr val="00AEEF"/>
                </a:solidFill>
                <a:latin typeface="Ink Free" panose="03080402000500000000" pitchFamily="66" charset="0"/>
              </a:rPr>
              <a:t>TRANSFERABLE SKILLS</a:t>
            </a:r>
          </a:p>
        </p:txBody>
      </p:sp>
      <p:sp>
        <p:nvSpPr>
          <p:cNvPr id="17" name="Text Placeholder 7">
            <a:extLst>
              <a:ext uri="{FF2B5EF4-FFF2-40B4-BE49-F238E27FC236}">
                <a16:creationId xmlns:a16="http://schemas.microsoft.com/office/drawing/2014/main" id="{C2AF41BB-5E40-1898-BBDC-32B108E19BF7}"/>
              </a:ext>
            </a:extLst>
          </p:cNvPr>
          <p:cNvSpPr txBox="1">
            <a:spLocks/>
          </p:cNvSpPr>
          <p:nvPr/>
        </p:nvSpPr>
        <p:spPr>
          <a:xfrm>
            <a:off x="7560752" y="5127341"/>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8" name="Text Placeholder 7">
            <a:extLst>
              <a:ext uri="{FF2B5EF4-FFF2-40B4-BE49-F238E27FC236}">
                <a16:creationId xmlns:a16="http://schemas.microsoft.com/office/drawing/2014/main" id="{780CAA20-2C42-9D03-0466-4F3077D2FB8E}"/>
              </a:ext>
            </a:extLst>
          </p:cNvPr>
          <p:cNvSpPr txBox="1">
            <a:spLocks/>
          </p:cNvSpPr>
          <p:nvPr/>
        </p:nvSpPr>
        <p:spPr>
          <a:xfrm>
            <a:off x="6697152" y="5127341"/>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2</a:t>
            </a:r>
            <a:endParaRPr lang="nl-NL" sz="2000" b="1">
              <a:latin typeface="Ink Free" panose="03080402000500000000" pitchFamily="66" charset="0"/>
            </a:endParaRPr>
          </a:p>
        </p:txBody>
      </p:sp>
      <p:sp>
        <p:nvSpPr>
          <p:cNvPr id="19" name="Text Placeholder 7">
            <a:extLst>
              <a:ext uri="{FF2B5EF4-FFF2-40B4-BE49-F238E27FC236}">
                <a16:creationId xmlns:a16="http://schemas.microsoft.com/office/drawing/2014/main" id="{B8541910-83C3-25C4-3A12-6C43FE63C198}"/>
              </a:ext>
            </a:extLst>
          </p:cNvPr>
          <p:cNvSpPr txBox="1">
            <a:spLocks/>
          </p:cNvSpPr>
          <p:nvPr/>
        </p:nvSpPr>
        <p:spPr>
          <a:xfrm>
            <a:off x="7560752" y="582089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20" name="Text Placeholder 7">
            <a:extLst>
              <a:ext uri="{FF2B5EF4-FFF2-40B4-BE49-F238E27FC236}">
                <a16:creationId xmlns:a16="http://schemas.microsoft.com/office/drawing/2014/main" id="{FE8565CB-B217-7C08-1F2D-CF65B5C7EB13}"/>
              </a:ext>
            </a:extLst>
          </p:cNvPr>
          <p:cNvSpPr txBox="1">
            <a:spLocks/>
          </p:cNvSpPr>
          <p:nvPr/>
        </p:nvSpPr>
        <p:spPr>
          <a:xfrm>
            <a:off x="6697152" y="582089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3</a:t>
            </a:r>
            <a:endParaRPr lang="nl-NL" sz="2000" b="1">
              <a:latin typeface="Ink Free" panose="03080402000500000000" pitchFamily="66" charset="0"/>
            </a:endParaRPr>
          </a:p>
        </p:txBody>
      </p:sp>
      <p:pic>
        <p:nvPicPr>
          <p:cNvPr id="21" name="Picture 2">
            <a:extLst>
              <a:ext uri="{FF2B5EF4-FFF2-40B4-BE49-F238E27FC236}">
                <a16:creationId xmlns:a16="http://schemas.microsoft.com/office/drawing/2014/main" id="{8A911732-A893-0E08-49A5-EA5744F744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6330" y="3584010"/>
            <a:ext cx="793205" cy="98382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a:extLst>
              <a:ext uri="{FF2B5EF4-FFF2-40B4-BE49-F238E27FC236}">
                <a16:creationId xmlns:a16="http://schemas.microsoft.com/office/drawing/2014/main" id="{5A1699FF-9451-6448-69DD-9DD7CA959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58748" y="3627125"/>
            <a:ext cx="956195" cy="953535"/>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7">
            <a:extLst>
              <a:ext uri="{FF2B5EF4-FFF2-40B4-BE49-F238E27FC236}">
                <a16:creationId xmlns:a16="http://schemas.microsoft.com/office/drawing/2014/main" id="{5D8A119F-F63C-1DBC-81AB-CA5EF1D332F1}"/>
              </a:ext>
            </a:extLst>
          </p:cNvPr>
          <p:cNvSpPr txBox="1">
            <a:spLocks/>
          </p:cNvSpPr>
          <p:nvPr/>
        </p:nvSpPr>
        <p:spPr>
          <a:xfrm>
            <a:off x="240516" y="793238"/>
            <a:ext cx="11710967" cy="14942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a:latin typeface="Ink Free" panose="03080402000500000000" pitchFamily="66" charset="0"/>
              </a:rPr>
              <a:t>JOB DESCRIPTION:</a:t>
            </a:r>
          </a:p>
          <a:p>
            <a:pPr marL="0" indent="0">
              <a:buNone/>
            </a:pPr>
            <a:r>
              <a:rPr lang="en-US" sz="2400" b="1" cap="all">
                <a:solidFill>
                  <a:srgbClr val="00AEEF"/>
                </a:solidFill>
                <a:latin typeface="Ink Free" panose="03080402000500000000" pitchFamily="66" charset="0"/>
              </a:rPr>
              <a:t>To deliver products to different locations throughout the COUNTRY in a safe and efficient manner, whilst observing all legal regulations.</a:t>
            </a:r>
            <a:endParaRPr lang="nl-NL" sz="2400" b="1" cap="all">
              <a:solidFill>
                <a:srgbClr val="00AEEF"/>
              </a:solidFill>
              <a:latin typeface="Ink Free" panose="03080402000500000000" pitchFamily="66" charset="0"/>
            </a:endParaRPr>
          </a:p>
        </p:txBody>
      </p:sp>
      <p:sp>
        <p:nvSpPr>
          <p:cNvPr id="2" name="Slide Number Placeholder 1">
            <a:extLst>
              <a:ext uri="{FF2B5EF4-FFF2-40B4-BE49-F238E27FC236}">
                <a16:creationId xmlns:a16="http://schemas.microsoft.com/office/drawing/2014/main" id="{34136E43-4039-312F-E2B8-273C32CC545E}"/>
              </a:ext>
            </a:extLst>
          </p:cNvPr>
          <p:cNvSpPr>
            <a:spLocks noGrp="1"/>
          </p:cNvSpPr>
          <p:nvPr>
            <p:ph type="sldNum" sz="quarter" idx="12"/>
          </p:nvPr>
        </p:nvSpPr>
        <p:spPr/>
        <p:txBody>
          <a:bodyPr/>
          <a:lstStyle/>
          <a:p>
            <a:fld id="{0674757E-06C4-4259-8159-64C08476399D}" type="slidenum">
              <a:rPr lang="nl-NL" smtClean="0"/>
              <a:pPr/>
              <a:t>19</a:t>
            </a:fld>
            <a:endParaRPr lang="nl-NL"/>
          </a:p>
        </p:txBody>
      </p:sp>
    </p:spTree>
    <p:extLst>
      <p:ext uri="{BB962C8B-B14F-4D97-AF65-F5344CB8AC3E}">
        <p14:creationId xmlns:p14="http://schemas.microsoft.com/office/powerpoint/2010/main" val="898388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34E63A5-28A9-C358-E985-A9EFA5693590}"/>
              </a:ext>
            </a:extLst>
          </p:cNvPr>
          <p:cNvSpPr>
            <a:spLocks noGrp="1"/>
          </p:cNvSpPr>
          <p:nvPr>
            <p:ph type="body" sz="quarter" idx="10"/>
          </p:nvPr>
        </p:nvSpPr>
        <p:spPr/>
        <p:txBody>
          <a:bodyPr/>
          <a:lstStyle/>
          <a:p>
            <a:pPr marL="342900" indent="-342900">
              <a:buFont typeface="Ink Free" panose="03080402000500000000" pitchFamily="66" charset="0"/>
              <a:buChar char="•"/>
            </a:pPr>
            <a:r>
              <a:rPr lang="nl-NL" sz="2400"/>
              <a:t>Explain in a broader context, the key requirements and elements for successful career development</a:t>
            </a:r>
          </a:p>
        </p:txBody>
      </p:sp>
      <p:sp>
        <p:nvSpPr>
          <p:cNvPr id="7" name="Text Placeholder 3">
            <a:extLst>
              <a:ext uri="{FF2B5EF4-FFF2-40B4-BE49-F238E27FC236}">
                <a16:creationId xmlns:a16="http://schemas.microsoft.com/office/drawing/2014/main" id="{1B9FA386-4E30-6F2E-4CB9-665C266C93CA}"/>
              </a:ext>
            </a:extLst>
          </p:cNvPr>
          <p:cNvSpPr>
            <a:spLocks noGrp="1"/>
          </p:cNvSpPr>
          <p:nvPr>
            <p:ph type="body" sz="quarter" idx="11"/>
          </p:nvPr>
        </p:nvSpPr>
        <p:spPr/>
        <p:txBody>
          <a:bodyPr/>
          <a:lstStyle/>
          <a:p>
            <a:pPr marL="342900" indent="-342900">
              <a:buFont typeface="Ink Free" panose="03080402000500000000" pitchFamily="66" charset="0"/>
              <a:buChar char="•"/>
            </a:pPr>
            <a:r>
              <a:rPr lang="nl-NL" sz="2400"/>
              <a:t>Explain the difference between Personality Traits and Transferable </a:t>
            </a:r>
            <a:r>
              <a:rPr lang="nl-NL"/>
              <a:t>S</a:t>
            </a:r>
            <a:r>
              <a:rPr lang="nl-NL" sz="2400"/>
              <a:t>kills and how these are important for specific job roles and career development</a:t>
            </a:r>
          </a:p>
        </p:txBody>
      </p:sp>
      <p:sp>
        <p:nvSpPr>
          <p:cNvPr id="8" name="Text Placeholder 4">
            <a:extLst>
              <a:ext uri="{FF2B5EF4-FFF2-40B4-BE49-F238E27FC236}">
                <a16:creationId xmlns:a16="http://schemas.microsoft.com/office/drawing/2014/main" id="{BAE2AE44-BCF0-702F-EFCC-B7D3204A0C54}"/>
              </a:ext>
            </a:extLst>
          </p:cNvPr>
          <p:cNvSpPr>
            <a:spLocks noGrp="1"/>
          </p:cNvSpPr>
          <p:nvPr>
            <p:ph type="body" sz="quarter" idx="12"/>
          </p:nvPr>
        </p:nvSpPr>
        <p:spPr>
          <a:xfrm>
            <a:off x="512170" y="4331797"/>
            <a:ext cx="8003183" cy="914400"/>
          </a:xfrm>
        </p:spPr>
        <p:txBody>
          <a:bodyPr/>
          <a:lstStyle/>
          <a:p>
            <a:pPr marL="457200" indent="-457200">
              <a:buFont typeface="Ink Free" panose="03080402000500000000" pitchFamily="66" charset="0"/>
              <a:buChar char="•"/>
            </a:pPr>
            <a:r>
              <a:rPr lang="nl-NL"/>
              <a:t>Reflect on future career opportunities and the areas that require focus for building a career in a specific direction</a:t>
            </a:r>
            <a:endParaRPr lang="nl-NL" sz="2400"/>
          </a:p>
        </p:txBody>
      </p:sp>
      <p:sp>
        <p:nvSpPr>
          <p:cNvPr id="2" name="Slide Number Placeholder 1">
            <a:extLst>
              <a:ext uri="{FF2B5EF4-FFF2-40B4-BE49-F238E27FC236}">
                <a16:creationId xmlns:a16="http://schemas.microsoft.com/office/drawing/2014/main" id="{676CD531-B852-2680-0368-B0001F048C0C}"/>
              </a:ext>
            </a:extLst>
          </p:cNvPr>
          <p:cNvSpPr>
            <a:spLocks noGrp="1"/>
          </p:cNvSpPr>
          <p:nvPr>
            <p:ph type="sldNum" sz="quarter" idx="14"/>
          </p:nvPr>
        </p:nvSpPr>
        <p:spPr/>
        <p:txBody>
          <a:bodyPr/>
          <a:lstStyle/>
          <a:p>
            <a:fld id="{0674757E-06C4-4259-8159-64C08476399D}" type="slidenum">
              <a:rPr lang="nl-NL" smtClean="0"/>
              <a:pPr/>
              <a:t>2</a:t>
            </a:fld>
            <a:endParaRPr lang="nl-NL"/>
          </a:p>
        </p:txBody>
      </p:sp>
    </p:spTree>
    <p:extLst>
      <p:ext uri="{BB962C8B-B14F-4D97-AF65-F5344CB8AC3E}">
        <p14:creationId xmlns:p14="http://schemas.microsoft.com/office/powerpoint/2010/main" val="36585974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BA666C-E305-0C7F-AEFA-8657CCAEC401}"/>
              </a:ext>
            </a:extLst>
          </p:cNvPr>
          <p:cNvSpPr>
            <a:spLocks noGrp="1"/>
          </p:cNvSpPr>
          <p:nvPr>
            <p:ph type="title"/>
          </p:nvPr>
        </p:nvSpPr>
        <p:spPr>
          <a:xfrm>
            <a:off x="163534" y="62654"/>
            <a:ext cx="9526566" cy="706438"/>
          </a:xfrm>
        </p:spPr>
        <p:txBody>
          <a:bodyPr/>
          <a:lstStyle/>
          <a:p>
            <a:r>
              <a:rPr lang="nl-NL"/>
              <a:t>JOB TITLE – </a:t>
            </a:r>
            <a:r>
              <a:rPr lang="nl-NL">
                <a:solidFill>
                  <a:schemeClr val="accent4">
                    <a:lumMod val="75000"/>
                  </a:schemeClr>
                </a:solidFill>
              </a:rPr>
              <a:t>HEAVY GOODS VEHICLE DRIVER</a:t>
            </a:r>
          </a:p>
        </p:txBody>
      </p:sp>
      <p:sp>
        <p:nvSpPr>
          <p:cNvPr id="23" name="Text Placeholder 7">
            <a:extLst>
              <a:ext uri="{FF2B5EF4-FFF2-40B4-BE49-F238E27FC236}">
                <a16:creationId xmlns:a16="http://schemas.microsoft.com/office/drawing/2014/main" id="{DC11152F-2B77-2E66-6B7C-557853BD18F3}"/>
              </a:ext>
            </a:extLst>
          </p:cNvPr>
          <p:cNvSpPr txBox="1">
            <a:spLocks/>
          </p:cNvSpPr>
          <p:nvPr/>
        </p:nvSpPr>
        <p:spPr>
          <a:xfrm>
            <a:off x="240516" y="769092"/>
            <a:ext cx="11710967" cy="81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latin typeface="Ink Free" panose="03080402000500000000" pitchFamily="66" charset="0"/>
              </a:rPr>
              <a:t>HOW DO YOU THINK THESE CAN ADD TO SUCCESS?</a:t>
            </a:r>
          </a:p>
        </p:txBody>
      </p:sp>
      <p:sp>
        <p:nvSpPr>
          <p:cNvPr id="24" name="Text Placeholder 7">
            <a:extLst>
              <a:ext uri="{FF2B5EF4-FFF2-40B4-BE49-F238E27FC236}">
                <a16:creationId xmlns:a16="http://schemas.microsoft.com/office/drawing/2014/main" id="{0105186A-06F5-9923-BB85-5BB93BE6428C}"/>
              </a:ext>
            </a:extLst>
          </p:cNvPr>
          <p:cNvSpPr txBox="1">
            <a:spLocks/>
          </p:cNvSpPr>
          <p:nvPr/>
        </p:nvSpPr>
        <p:spPr>
          <a:xfrm>
            <a:off x="317499" y="1277968"/>
            <a:ext cx="11557001" cy="5275232"/>
          </a:xfrm>
          <a:prstGeom prst="roundRect">
            <a:avLst>
              <a:gd name="adj" fmla="val 3674"/>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2" name="Slide Number Placeholder 1">
            <a:extLst>
              <a:ext uri="{FF2B5EF4-FFF2-40B4-BE49-F238E27FC236}">
                <a16:creationId xmlns:a16="http://schemas.microsoft.com/office/drawing/2014/main" id="{CCB350F2-BF17-22C9-4662-FE4F907FDE8B}"/>
              </a:ext>
            </a:extLst>
          </p:cNvPr>
          <p:cNvSpPr>
            <a:spLocks noGrp="1"/>
          </p:cNvSpPr>
          <p:nvPr>
            <p:ph type="sldNum" sz="quarter" idx="12"/>
          </p:nvPr>
        </p:nvSpPr>
        <p:spPr/>
        <p:txBody>
          <a:bodyPr/>
          <a:lstStyle/>
          <a:p>
            <a:fld id="{0674757E-06C4-4259-8159-64C08476399D}" type="slidenum">
              <a:rPr lang="nl-NL" smtClean="0"/>
              <a:pPr/>
              <a:t>20</a:t>
            </a:fld>
            <a:endParaRPr lang="nl-NL"/>
          </a:p>
        </p:txBody>
      </p:sp>
    </p:spTree>
    <p:extLst>
      <p:ext uri="{BB962C8B-B14F-4D97-AF65-F5344CB8AC3E}">
        <p14:creationId xmlns:p14="http://schemas.microsoft.com/office/powerpoint/2010/main" val="10235486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BA666C-E305-0C7F-AEFA-8657CCAEC401}"/>
              </a:ext>
            </a:extLst>
          </p:cNvPr>
          <p:cNvSpPr>
            <a:spLocks noGrp="1"/>
          </p:cNvSpPr>
          <p:nvPr>
            <p:ph type="title"/>
          </p:nvPr>
        </p:nvSpPr>
        <p:spPr>
          <a:xfrm>
            <a:off x="163534" y="62654"/>
            <a:ext cx="9526566" cy="706438"/>
          </a:xfrm>
        </p:spPr>
        <p:txBody>
          <a:bodyPr/>
          <a:lstStyle/>
          <a:p>
            <a:r>
              <a:rPr lang="nl-NL"/>
              <a:t>JOB TITLE – </a:t>
            </a:r>
            <a:r>
              <a:rPr lang="nl-NL">
                <a:solidFill>
                  <a:schemeClr val="accent4">
                    <a:lumMod val="75000"/>
                  </a:schemeClr>
                </a:solidFill>
              </a:rPr>
              <a:t>TRANSPORT PLANNER</a:t>
            </a:r>
          </a:p>
        </p:txBody>
      </p:sp>
      <p:sp>
        <p:nvSpPr>
          <p:cNvPr id="6" name="Text Placeholder 7">
            <a:extLst>
              <a:ext uri="{FF2B5EF4-FFF2-40B4-BE49-F238E27FC236}">
                <a16:creationId xmlns:a16="http://schemas.microsoft.com/office/drawing/2014/main" id="{7EC3259D-5E82-D409-A607-7CC70861AFF6}"/>
              </a:ext>
            </a:extLst>
          </p:cNvPr>
          <p:cNvSpPr txBox="1">
            <a:spLocks/>
          </p:cNvSpPr>
          <p:nvPr/>
        </p:nvSpPr>
        <p:spPr>
          <a:xfrm>
            <a:off x="1181098" y="444648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7" name="Text Placeholder 7">
            <a:extLst>
              <a:ext uri="{FF2B5EF4-FFF2-40B4-BE49-F238E27FC236}">
                <a16:creationId xmlns:a16="http://schemas.microsoft.com/office/drawing/2014/main" id="{FD8EAB30-54B6-6AA3-ABB5-817B8639B3AB}"/>
              </a:ext>
            </a:extLst>
          </p:cNvPr>
          <p:cNvSpPr txBox="1">
            <a:spLocks/>
          </p:cNvSpPr>
          <p:nvPr/>
        </p:nvSpPr>
        <p:spPr>
          <a:xfrm>
            <a:off x="317498" y="3103116"/>
            <a:ext cx="11710967" cy="81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latin typeface="Ink Free" panose="03080402000500000000" pitchFamily="66" charset="0"/>
              </a:rPr>
              <a:t>WHAT PERSONALITY TRAITS AND TRANSFERABLE SKILLS ARE NEEDED? TOP 3 OF EACH</a:t>
            </a:r>
          </a:p>
        </p:txBody>
      </p:sp>
      <p:sp>
        <p:nvSpPr>
          <p:cNvPr id="8" name="Text Placeholder 7">
            <a:extLst>
              <a:ext uri="{FF2B5EF4-FFF2-40B4-BE49-F238E27FC236}">
                <a16:creationId xmlns:a16="http://schemas.microsoft.com/office/drawing/2014/main" id="{43971BDC-3FF4-6053-D524-25369EE90958}"/>
              </a:ext>
            </a:extLst>
          </p:cNvPr>
          <p:cNvSpPr txBox="1">
            <a:spLocks/>
          </p:cNvSpPr>
          <p:nvPr/>
        </p:nvSpPr>
        <p:spPr>
          <a:xfrm>
            <a:off x="317498" y="444648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1</a:t>
            </a:r>
            <a:endParaRPr lang="nl-NL" sz="2000" b="1">
              <a:latin typeface="Ink Free" panose="03080402000500000000" pitchFamily="66" charset="0"/>
            </a:endParaRPr>
          </a:p>
        </p:txBody>
      </p:sp>
      <p:sp>
        <p:nvSpPr>
          <p:cNvPr id="9" name="Text Placeholder 7">
            <a:extLst>
              <a:ext uri="{FF2B5EF4-FFF2-40B4-BE49-F238E27FC236}">
                <a16:creationId xmlns:a16="http://schemas.microsoft.com/office/drawing/2014/main" id="{D914C360-31CB-D287-63C3-52EBBBA75480}"/>
              </a:ext>
            </a:extLst>
          </p:cNvPr>
          <p:cNvSpPr txBox="1">
            <a:spLocks/>
          </p:cNvSpPr>
          <p:nvPr/>
        </p:nvSpPr>
        <p:spPr>
          <a:xfrm>
            <a:off x="1181098" y="4030867"/>
            <a:ext cx="4102884" cy="44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solidFill>
                  <a:srgbClr val="00AEEF"/>
                </a:solidFill>
                <a:latin typeface="Ink Free" panose="03080402000500000000" pitchFamily="66" charset="0"/>
              </a:rPr>
              <a:t>PERSONALITY TRAITS</a:t>
            </a:r>
          </a:p>
        </p:txBody>
      </p:sp>
      <p:sp>
        <p:nvSpPr>
          <p:cNvPr id="10" name="Text Placeholder 7">
            <a:extLst>
              <a:ext uri="{FF2B5EF4-FFF2-40B4-BE49-F238E27FC236}">
                <a16:creationId xmlns:a16="http://schemas.microsoft.com/office/drawing/2014/main" id="{D9273CF2-CBF7-3007-E1D0-8EC55E23FFB1}"/>
              </a:ext>
            </a:extLst>
          </p:cNvPr>
          <p:cNvSpPr txBox="1">
            <a:spLocks/>
          </p:cNvSpPr>
          <p:nvPr/>
        </p:nvSpPr>
        <p:spPr>
          <a:xfrm>
            <a:off x="1181098" y="5127341"/>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1" name="Text Placeholder 7">
            <a:extLst>
              <a:ext uri="{FF2B5EF4-FFF2-40B4-BE49-F238E27FC236}">
                <a16:creationId xmlns:a16="http://schemas.microsoft.com/office/drawing/2014/main" id="{D9FB36ED-AF5B-8666-F13B-B1C381DE805D}"/>
              </a:ext>
            </a:extLst>
          </p:cNvPr>
          <p:cNvSpPr txBox="1">
            <a:spLocks/>
          </p:cNvSpPr>
          <p:nvPr/>
        </p:nvSpPr>
        <p:spPr>
          <a:xfrm>
            <a:off x="317498" y="5127341"/>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2</a:t>
            </a:r>
            <a:endParaRPr lang="nl-NL" sz="2000" b="1">
              <a:latin typeface="Ink Free" panose="03080402000500000000" pitchFamily="66" charset="0"/>
            </a:endParaRPr>
          </a:p>
        </p:txBody>
      </p:sp>
      <p:sp>
        <p:nvSpPr>
          <p:cNvPr id="12" name="Text Placeholder 7">
            <a:extLst>
              <a:ext uri="{FF2B5EF4-FFF2-40B4-BE49-F238E27FC236}">
                <a16:creationId xmlns:a16="http://schemas.microsoft.com/office/drawing/2014/main" id="{0FB54693-47D9-6C0B-39AE-6C50BBDC7624}"/>
              </a:ext>
            </a:extLst>
          </p:cNvPr>
          <p:cNvSpPr txBox="1">
            <a:spLocks/>
          </p:cNvSpPr>
          <p:nvPr/>
        </p:nvSpPr>
        <p:spPr>
          <a:xfrm>
            <a:off x="1181098" y="582089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3" name="Text Placeholder 7">
            <a:extLst>
              <a:ext uri="{FF2B5EF4-FFF2-40B4-BE49-F238E27FC236}">
                <a16:creationId xmlns:a16="http://schemas.microsoft.com/office/drawing/2014/main" id="{73971084-EDDC-F090-68CB-3BBE418BF4DB}"/>
              </a:ext>
            </a:extLst>
          </p:cNvPr>
          <p:cNvSpPr txBox="1">
            <a:spLocks/>
          </p:cNvSpPr>
          <p:nvPr/>
        </p:nvSpPr>
        <p:spPr>
          <a:xfrm>
            <a:off x="317498" y="582089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3</a:t>
            </a:r>
            <a:endParaRPr lang="nl-NL" sz="2000" b="1">
              <a:latin typeface="Ink Free" panose="03080402000500000000" pitchFamily="66" charset="0"/>
            </a:endParaRPr>
          </a:p>
        </p:txBody>
      </p:sp>
      <p:sp>
        <p:nvSpPr>
          <p:cNvPr id="14" name="Text Placeholder 7">
            <a:extLst>
              <a:ext uri="{FF2B5EF4-FFF2-40B4-BE49-F238E27FC236}">
                <a16:creationId xmlns:a16="http://schemas.microsoft.com/office/drawing/2014/main" id="{EC15125C-EBED-3ED9-D288-61F0FCAEF67A}"/>
              </a:ext>
            </a:extLst>
          </p:cNvPr>
          <p:cNvSpPr txBox="1">
            <a:spLocks/>
          </p:cNvSpPr>
          <p:nvPr/>
        </p:nvSpPr>
        <p:spPr>
          <a:xfrm>
            <a:off x="7560752" y="444648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5" name="Text Placeholder 7">
            <a:extLst>
              <a:ext uri="{FF2B5EF4-FFF2-40B4-BE49-F238E27FC236}">
                <a16:creationId xmlns:a16="http://schemas.microsoft.com/office/drawing/2014/main" id="{6AA285F3-2B0E-29B1-7DD1-EED37D059CA0}"/>
              </a:ext>
            </a:extLst>
          </p:cNvPr>
          <p:cNvSpPr txBox="1">
            <a:spLocks/>
          </p:cNvSpPr>
          <p:nvPr/>
        </p:nvSpPr>
        <p:spPr>
          <a:xfrm>
            <a:off x="6697152" y="444648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1</a:t>
            </a:r>
            <a:endParaRPr lang="nl-NL" sz="2000" b="1">
              <a:latin typeface="Ink Free" panose="03080402000500000000" pitchFamily="66" charset="0"/>
            </a:endParaRPr>
          </a:p>
        </p:txBody>
      </p:sp>
      <p:sp>
        <p:nvSpPr>
          <p:cNvPr id="16" name="Text Placeholder 7">
            <a:extLst>
              <a:ext uri="{FF2B5EF4-FFF2-40B4-BE49-F238E27FC236}">
                <a16:creationId xmlns:a16="http://schemas.microsoft.com/office/drawing/2014/main" id="{B22A1FF4-0925-C8C8-B5C5-DC9CE1B91DDE}"/>
              </a:ext>
            </a:extLst>
          </p:cNvPr>
          <p:cNvSpPr txBox="1">
            <a:spLocks/>
          </p:cNvSpPr>
          <p:nvPr/>
        </p:nvSpPr>
        <p:spPr>
          <a:xfrm>
            <a:off x="7560752" y="4030867"/>
            <a:ext cx="4102884" cy="44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solidFill>
                  <a:srgbClr val="00AEEF"/>
                </a:solidFill>
                <a:latin typeface="Ink Free" panose="03080402000500000000" pitchFamily="66" charset="0"/>
              </a:rPr>
              <a:t>TRANSFERABLE SKILLS</a:t>
            </a:r>
          </a:p>
        </p:txBody>
      </p:sp>
      <p:sp>
        <p:nvSpPr>
          <p:cNvPr id="17" name="Text Placeholder 7">
            <a:extLst>
              <a:ext uri="{FF2B5EF4-FFF2-40B4-BE49-F238E27FC236}">
                <a16:creationId xmlns:a16="http://schemas.microsoft.com/office/drawing/2014/main" id="{C2AF41BB-5E40-1898-BBDC-32B108E19BF7}"/>
              </a:ext>
            </a:extLst>
          </p:cNvPr>
          <p:cNvSpPr txBox="1">
            <a:spLocks/>
          </p:cNvSpPr>
          <p:nvPr/>
        </p:nvSpPr>
        <p:spPr>
          <a:xfrm>
            <a:off x="7560752" y="5127341"/>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8" name="Text Placeholder 7">
            <a:extLst>
              <a:ext uri="{FF2B5EF4-FFF2-40B4-BE49-F238E27FC236}">
                <a16:creationId xmlns:a16="http://schemas.microsoft.com/office/drawing/2014/main" id="{780CAA20-2C42-9D03-0466-4F3077D2FB8E}"/>
              </a:ext>
            </a:extLst>
          </p:cNvPr>
          <p:cNvSpPr txBox="1">
            <a:spLocks/>
          </p:cNvSpPr>
          <p:nvPr/>
        </p:nvSpPr>
        <p:spPr>
          <a:xfrm>
            <a:off x="6697152" y="5127341"/>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2</a:t>
            </a:r>
            <a:endParaRPr lang="nl-NL" sz="2000" b="1">
              <a:latin typeface="Ink Free" panose="03080402000500000000" pitchFamily="66" charset="0"/>
            </a:endParaRPr>
          </a:p>
        </p:txBody>
      </p:sp>
      <p:sp>
        <p:nvSpPr>
          <p:cNvPr id="19" name="Text Placeholder 7">
            <a:extLst>
              <a:ext uri="{FF2B5EF4-FFF2-40B4-BE49-F238E27FC236}">
                <a16:creationId xmlns:a16="http://schemas.microsoft.com/office/drawing/2014/main" id="{B8541910-83C3-25C4-3A12-6C43FE63C198}"/>
              </a:ext>
            </a:extLst>
          </p:cNvPr>
          <p:cNvSpPr txBox="1">
            <a:spLocks/>
          </p:cNvSpPr>
          <p:nvPr/>
        </p:nvSpPr>
        <p:spPr>
          <a:xfrm>
            <a:off x="7560752" y="582089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20" name="Text Placeholder 7">
            <a:extLst>
              <a:ext uri="{FF2B5EF4-FFF2-40B4-BE49-F238E27FC236}">
                <a16:creationId xmlns:a16="http://schemas.microsoft.com/office/drawing/2014/main" id="{FE8565CB-B217-7C08-1F2D-CF65B5C7EB13}"/>
              </a:ext>
            </a:extLst>
          </p:cNvPr>
          <p:cNvSpPr txBox="1">
            <a:spLocks/>
          </p:cNvSpPr>
          <p:nvPr/>
        </p:nvSpPr>
        <p:spPr>
          <a:xfrm>
            <a:off x="6697152" y="582089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3</a:t>
            </a:r>
            <a:endParaRPr lang="nl-NL" sz="2000" b="1">
              <a:latin typeface="Ink Free" panose="03080402000500000000" pitchFamily="66" charset="0"/>
            </a:endParaRPr>
          </a:p>
        </p:txBody>
      </p:sp>
      <p:pic>
        <p:nvPicPr>
          <p:cNvPr id="21" name="Picture 2">
            <a:extLst>
              <a:ext uri="{FF2B5EF4-FFF2-40B4-BE49-F238E27FC236}">
                <a16:creationId xmlns:a16="http://schemas.microsoft.com/office/drawing/2014/main" id="{8A911732-A893-0E08-49A5-EA5744F744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6330" y="3584010"/>
            <a:ext cx="793205" cy="98382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a:extLst>
              <a:ext uri="{FF2B5EF4-FFF2-40B4-BE49-F238E27FC236}">
                <a16:creationId xmlns:a16="http://schemas.microsoft.com/office/drawing/2014/main" id="{5A1699FF-9451-6448-69DD-9DD7CA959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58748" y="3627125"/>
            <a:ext cx="956195" cy="953535"/>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7">
            <a:extLst>
              <a:ext uri="{FF2B5EF4-FFF2-40B4-BE49-F238E27FC236}">
                <a16:creationId xmlns:a16="http://schemas.microsoft.com/office/drawing/2014/main" id="{5D8A119F-F63C-1DBC-81AB-CA5EF1D332F1}"/>
              </a:ext>
            </a:extLst>
          </p:cNvPr>
          <p:cNvSpPr txBox="1">
            <a:spLocks/>
          </p:cNvSpPr>
          <p:nvPr/>
        </p:nvSpPr>
        <p:spPr>
          <a:xfrm>
            <a:off x="240516" y="793238"/>
            <a:ext cx="11710967" cy="14942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a:latin typeface="Ink Free" panose="03080402000500000000" pitchFamily="66" charset="0"/>
              </a:rPr>
              <a:t>JOB DESCRIPTION:</a:t>
            </a:r>
          </a:p>
          <a:p>
            <a:pPr marL="0" indent="0">
              <a:buNone/>
            </a:pPr>
            <a:r>
              <a:rPr lang="en-US" sz="2400" b="1" cap="all">
                <a:solidFill>
                  <a:srgbClr val="00AEEF"/>
                </a:solidFill>
                <a:latin typeface="Ink Free" panose="03080402000500000000" pitchFamily="66" charset="0"/>
              </a:rPr>
              <a:t>TO PLAN THE DAILY ROUTES FOR ALL DRIVERS, CONSIDERING VARIABLES LIKE LEAVE DAYS, SPECIFIC DELIVERY TIMES AND TRAFFIC SITUATIONS.</a:t>
            </a:r>
            <a:endParaRPr lang="nl-NL" sz="2400" b="1" cap="all">
              <a:solidFill>
                <a:srgbClr val="00AEEF"/>
              </a:solidFill>
              <a:latin typeface="Ink Free" panose="03080402000500000000" pitchFamily="66" charset="0"/>
            </a:endParaRPr>
          </a:p>
        </p:txBody>
      </p:sp>
      <p:sp>
        <p:nvSpPr>
          <p:cNvPr id="2" name="Slide Number Placeholder 1">
            <a:extLst>
              <a:ext uri="{FF2B5EF4-FFF2-40B4-BE49-F238E27FC236}">
                <a16:creationId xmlns:a16="http://schemas.microsoft.com/office/drawing/2014/main" id="{DE1BC546-6D5A-17C9-AB38-440370BA4461}"/>
              </a:ext>
            </a:extLst>
          </p:cNvPr>
          <p:cNvSpPr>
            <a:spLocks noGrp="1"/>
          </p:cNvSpPr>
          <p:nvPr>
            <p:ph type="sldNum" sz="quarter" idx="12"/>
          </p:nvPr>
        </p:nvSpPr>
        <p:spPr/>
        <p:txBody>
          <a:bodyPr/>
          <a:lstStyle/>
          <a:p>
            <a:fld id="{0674757E-06C4-4259-8159-64C08476399D}" type="slidenum">
              <a:rPr lang="nl-NL" smtClean="0"/>
              <a:pPr/>
              <a:t>21</a:t>
            </a:fld>
            <a:endParaRPr lang="nl-NL"/>
          </a:p>
        </p:txBody>
      </p:sp>
    </p:spTree>
    <p:extLst>
      <p:ext uri="{BB962C8B-B14F-4D97-AF65-F5344CB8AC3E}">
        <p14:creationId xmlns:p14="http://schemas.microsoft.com/office/powerpoint/2010/main" val="38740484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BA666C-E305-0C7F-AEFA-8657CCAEC401}"/>
              </a:ext>
            </a:extLst>
          </p:cNvPr>
          <p:cNvSpPr>
            <a:spLocks noGrp="1"/>
          </p:cNvSpPr>
          <p:nvPr>
            <p:ph type="title"/>
          </p:nvPr>
        </p:nvSpPr>
        <p:spPr>
          <a:xfrm>
            <a:off x="163534" y="62654"/>
            <a:ext cx="9526566" cy="706438"/>
          </a:xfrm>
        </p:spPr>
        <p:txBody>
          <a:bodyPr/>
          <a:lstStyle/>
          <a:p>
            <a:r>
              <a:rPr lang="nl-NL"/>
              <a:t>JOB TITLE – </a:t>
            </a:r>
            <a:r>
              <a:rPr lang="nl-NL">
                <a:solidFill>
                  <a:schemeClr val="accent4">
                    <a:lumMod val="75000"/>
                  </a:schemeClr>
                </a:solidFill>
              </a:rPr>
              <a:t>TRANSPORT PLANNER</a:t>
            </a:r>
          </a:p>
        </p:txBody>
      </p:sp>
      <p:sp>
        <p:nvSpPr>
          <p:cNvPr id="23" name="Text Placeholder 7">
            <a:extLst>
              <a:ext uri="{FF2B5EF4-FFF2-40B4-BE49-F238E27FC236}">
                <a16:creationId xmlns:a16="http://schemas.microsoft.com/office/drawing/2014/main" id="{DC11152F-2B77-2E66-6B7C-557853BD18F3}"/>
              </a:ext>
            </a:extLst>
          </p:cNvPr>
          <p:cNvSpPr txBox="1">
            <a:spLocks/>
          </p:cNvSpPr>
          <p:nvPr/>
        </p:nvSpPr>
        <p:spPr>
          <a:xfrm>
            <a:off x="240516" y="769092"/>
            <a:ext cx="11710967" cy="81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latin typeface="Ink Free" panose="03080402000500000000" pitchFamily="66" charset="0"/>
              </a:rPr>
              <a:t>HOW DO YOU THINK THESE CAN ADD TO SUCCESS?</a:t>
            </a:r>
          </a:p>
        </p:txBody>
      </p:sp>
      <p:sp>
        <p:nvSpPr>
          <p:cNvPr id="24" name="Text Placeholder 7">
            <a:extLst>
              <a:ext uri="{FF2B5EF4-FFF2-40B4-BE49-F238E27FC236}">
                <a16:creationId xmlns:a16="http://schemas.microsoft.com/office/drawing/2014/main" id="{0105186A-06F5-9923-BB85-5BB93BE6428C}"/>
              </a:ext>
            </a:extLst>
          </p:cNvPr>
          <p:cNvSpPr txBox="1">
            <a:spLocks/>
          </p:cNvSpPr>
          <p:nvPr/>
        </p:nvSpPr>
        <p:spPr>
          <a:xfrm>
            <a:off x="317499" y="1277968"/>
            <a:ext cx="11557001" cy="5275232"/>
          </a:xfrm>
          <a:prstGeom prst="roundRect">
            <a:avLst>
              <a:gd name="adj" fmla="val 3674"/>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2" name="Slide Number Placeholder 1">
            <a:extLst>
              <a:ext uri="{FF2B5EF4-FFF2-40B4-BE49-F238E27FC236}">
                <a16:creationId xmlns:a16="http://schemas.microsoft.com/office/drawing/2014/main" id="{AD0F7A84-7D38-8906-2BEF-1DBDD30FEA16}"/>
              </a:ext>
            </a:extLst>
          </p:cNvPr>
          <p:cNvSpPr>
            <a:spLocks noGrp="1"/>
          </p:cNvSpPr>
          <p:nvPr>
            <p:ph type="sldNum" sz="quarter" idx="12"/>
          </p:nvPr>
        </p:nvSpPr>
        <p:spPr/>
        <p:txBody>
          <a:bodyPr/>
          <a:lstStyle/>
          <a:p>
            <a:fld id="{0674757E-06C4-4259-8159-64C08476399D}" type="slidenum">
              <a:rPr lang="nl-NL" smtClean="0"/>
              <a:pPr/>
              <a:t>22</a:t>
            </a:fld>
            <a:endParaRPr lang="nl-NL"/>
          </a:p>
        </p:txBody>
      </p:sp>
    </p:spTree>
    <p:extLst>
      <p:ext uri="{BB962C8B-B14F-4D97-AF65-F5344CB8AC3E}">
        <p14:creationId xmlns:p14="http://schemas.microsoft.com/office/powerpoint/2010/main" val="13546295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BA666C-E305-0C7F-AEFA-8657CCAEC401}"/>
              </a:ext>
            </a:extLst>
          </p:cNvPr>
          <p:cNvSpPr>
            <a:spLocks noGrp="1"/>
          </p:cNvSpPr>
          <p:nvPr>
            <p:ph type="title"/>
          </p:nvPr>
        </p:nvSpPr>
        <p:spPr>
          <a:xfrm>
            <a:off x="163534" y="62654"/>
            <a:ext cx="9526566" cy="706438"/>
          </a:xfrm>
        </p:spPr>
        <p:txBody>
          <a:bodyPr/>
          <a:lstStyle/>
          <a:p>
            <a:r>
              <a:rPr lang="nl-NL"/>
              <a:t>JOB TITLE – </a:t>
            </a:r>
            <a:r>
              <a:rPr lang="nl-NL">
                <a:solidFill>
                  <a:schemeClr val="accent4">
                    <a:lumMod val="75000"/>
                  </a:schemeClr>
                </a:solidFill>
              </a:rPr>
              <a:t>WAREHOUSE SUPERVISOR</a:t>
            </a:r>
          </a:p>
        </p:txBody>
      </p:sp>
      <p:sp>
        <p:nvSpPr>
          <p:cNvPr id="6" name="Text Placeholder 7">
            <a:extLst>
              <a:ext uri="{FF2B5EF4-FFF2-40B4-BE49-F238E27FC236}">
                <a16:creationId xmlns:a16="http://schemas.microsoft.com/office/drawing/2014/main" id="{7EC3259D-5E82-D409-A607-7CC70861AFF6}"/>
              </a:ext>
            </a:extLst>
          </p:cNvPr>
          <p:cNvSpPr txBox="1">
            <a:spLocks/>
          </p:cNvSpPr>
          <p:nvPr/>
        </p:nvSpPr>
        <p:spPr>
          <a:xfrm>
            <a:off x="1181098" y="444648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7" name="Text Placeholder 7">
            <a:extLst>
              <a:ext uri="{FF2B5EF4-FFF2-40B4-BE49-F238E27FC236}">
                <a16:creationId xmlns:a16="http://schemas.microsoft.com/office/drawing/2014/main" id="{FD8EAB30-54B6-6AA3-ABB5-817B8639B3AB}"/>
              </a:ext>
            </a:extLst>
          </p:cNvPr>
          <p:cNvSpPr txBox="1">
            <a:spLocks/>
          </p:cNvSpPr>
          <p:nvPr/>
        </p:nvSpPr>
        <p:spPr>
          <a:xfrm>
            <a:off x="317498" y="3103116"/>
            <a:ext cx="11710967" cy="81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latin typeface="Ink Free" panose="03080402000500000000" pitchFamily="66" charset="0"/>
              </a:rPr>
              <a:t>WHAT PERSONALITY TRAITS AND TRANSFERABLE SKILLS ARE NEEDED? TOP 3 OF EACH</a:t>
            </a:r>
          </a:p>
        </p:txBody>
      </p:sp>
      <p:sp>
        <p:nvSpPr>
          <p:cNvPr id="8" name="Text Placeholder 7">
            <a:extLst>
              <a:ext uri="{FF2B5EF4-FFF2-40B4-BE49-F238E27FC236}">
                <a16:creationId xmlns:a16="http://schemas.microsoft.com/office/drawing/2014/main" id="{43971BDC-3FF4-6053-D524-25369EE90958}"/>
              </a:ext>
            </a:extLst>
          </p:cNvPr>
          <p:cNvSpPr txBox="1">
            <a:spLocks/>
          </p:cNvSpPr>
          <p:nvPr/>
        </p:nvSpPr>
        <p:spPr>
          <a:xfrm>
            <a:off x="317498" y="444648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1</a:t>
            </a:r>
            <a:endParaRPr lang="nl-NL" sz="2000" b="1">
              <a:latin typeface="Ink Free" panose="03080402000500000000" pitchFamily="66" charset="0"/>
            </a:endParaRPr>
          </a:p>
        </p:txBody>
      </p:sp>
      <p:sp>
        <p:nvSpPr>
          <p:cNvPr id="9" name="Text Placeholder 7">
            <a:extLst>
              <a:ext uri="{FF2B5EF4-FFF2-40B4-BE49-F238E27FC236}">
                <a16:creationId xmlns:a16="http://schemas.microsoft.com/office/drawing/2014/main" id="{D914C360-31CB-D287-63C3-52EBBBA75480}"/>
              </a:ext>
            </a:extLst>
          </p:cNvPr>
          <p:cNvSpPr txBox="1">
            <a:spLocks/>
          </p:cNvSpPr>
          <p:nvPr/>
        </p:nvSpPr>
        <p:spPr>
          <a:xfrm>
            <a:off x="1181098" y="4030867"/>
            <a:ext cx="4102884" cy="44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solidFill>
                  <a:srgbClr val="00AEEF"/>
                </a:solidFill>
                <a:latin typeface="Ink Free" panose="03080402000500000000" pitchFamily="66" charset="0"/>
              </a:rPr>
              <a:t>PERSONALITY TRAITS</a:t>
            </a:r>
          </a:p>
        </p:txBody>
      </p:sp>
      <p:sp>
        <p:nvSpPr>
          <p:cNvPr id="10" name="Text Placeholder 7">
            <a:extLst>
              <a:ext uri="{FF2B5EF4-FFF2-40B4-BE49-F238E27FC236}">
                <a16:creationId xmlns:a16="http://schemas.microsoft.com/office/drawing/2014/main" id="{D9273CF2-CBF7-3007-E1D0-8EC55E23FFB1}"/>
              </a:ext>
            </a:extLst>
          </p:cNvPr>
          <p:cNvSpPr txBox="1">
            <a:spLocks/>
          </p:cNvSpPr>
          <p:nvPr/>
        </p:nvSpPr>
        <p:spPr>
          <a:xfrm>
            <a:off x="1181098" y="5127341"/>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1" name="Text Placeholder 7">
            <a:extLst>
              <a:ext uri="{FF2B5EF4-FFF2-40B4-BE49-F238E27FC236}">
                <a16:creationId xmlns:a16="http://schemas.microsoft.com/office/drawing/2014/main" id="{D9FB36ED-AF5B-8666-F13B-B1C381DE805D}"/>
              </a:ext>
            </a:extLst>
          </p:cNvPr>
          <p:cNvSpPr txBox="1">
            <a:spLocks/>
          </p:cNvSpPr>
          <p:nvPr/>
        </p:nvSpPr>
        <p:spPr>
          <a:xfrm>
            <a:off x="317498" y="5127341"/>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2</a:t>
            </a:r>
            <a:endParaRPr lang="nl-NL" sz="2000" b="1">
              <a:latin typeface="Ink Free" panose="03080402000500000000" pitchFamily="66" charset="0"/>
            </a:endParaRPr>
          </a:p>
        </p:txBody>
      </p:sp>
      <p:sp>
        <p:nvSpPr>
          <p:cNvPr id="12" name="Text Placeholder 7">
            <a:extLst>
              <a:ext uri="{FF2B5EF4-FFF2-40B4-BE49-F238E27FC236}">
                <a16:creationId xmlns:a16="http://schemas.microsoft.com/office/drawing/2014/main" id="{0FB54693-47D9-6C0B-39AE-6C50BBDC7624}"/>
              </a:ext>
            </a:extLst>
          </p:cNvPr>
          <p:cNvSpPr txBox="1">
            <a:spLocks/>
          </p:cNvSpPr>
          <p:nvPr/>
        </p:nvSpPr>
        <p:spPr>
          <a:xfrm>
            <a:off x="1181098" y="582089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3" name="Text Placeholder 7">
            <a:extLst>
              <a:ext uri="{FF2B5EF4-FFF2-40B4-BE49-F238E27FC236}">
                <a16:creationId xmlns:a16="http://schemas.microsoft.com/office/drawing/2014/main" id="{73971084-EDDC-F090-68CB-3BBE418BF4DB}"/>
              </a:ext>
            </a:extLst>
          </p:cNvPr>
          <p:cNvSpPr txBox="1">
            <a:spLocks/>
          </p:cNvSpPr>
          <p:nvPr/>
        </p:nvSpPr>
        <p:spPr>
          <a:xfrm>
            <a:off x="317498" y="582089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3</a:t>
            </a:r>
            <a:endParaRPr lang="nl-NL" sz="2000" b="1">
              <a:latin typeface="Ink Free" panose="03080402000500000000" pitchFamily="66" charset="0"/>
            </a:endParaRPr>
          </a:p>
        </p:txBody>
      </p:sp>
      <p:sp>
        <p:nvSpPr>
          <p:cNvPr id="14" name="Text Placeholder 7">
            <a:extLst>
              <a:ext uri="{FF2B5EF4-FFF2-40B4-BE49-F238E27FC236}">
                <a16:creationId xmlns:a16="http://schemas.microsoft.com/office/drawing/2014/main" id="{EC15125C-EBED-3ED9-D288-61F0FCAEF67A}"/>
              </a:ext>
            </a:extLst>
          </p:cNvPr>
          <p:cNvSpPr txBox="1">
            <a:spLocks/>
          </p:cNvSpPr>
          <p:nvPr/>
        </p:nvSpPr>
        <p:spPr>
          <a:xfrm>
            <a:off x="7560752" y="444648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5" name="Text Placeholder 7">
            <a:extLst>
              <a:ext uri="{FF2B5EF4-FFF2-40B4-BE49-F238E27FC236}">
                <a16:creationId xmlns:a16="http://schemas.microsoft.com/office/drawing/2014/main" id="{6AA285F3-2B0E-29B1-7DD1-EED37D059CA0}"/>
              </a:ext>
            </a:extLst>
          </p:cNvPr>
          <p:cNvSpPr txBox="1">
            <a:spLocks/>
          </p:cNvSpPr>
          <p:nvPr/>
        </p:nvSpPr>
        <p:spPr>
          <a:xfrm>
            <a:off x="6697152" y="444648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1</a:t>
            </a:r>
            <a:endParaRPr lang="nl-NL" sz="2000" b="1">
              <a:latin typeface="Ink Free" panose="03080402000500000000" pitchFamily="66" charset="0"/>
            </a:endParaRPr>
          </a:p>
        </p:txBody>
      </p:sp>
      <p:sp>
        <p:nvSpPr>
          <p:cNvPr id="16" name="Text Placeholder 7">
            <a:extLst>
              <a:ext uri="{FF2B5EF4-FFF2-40B4-BE49-F238E27FC236}">
                <a16:creationId xmlns:a16="http://schemas.microsoft.com/office/drawing/2014/main" id="{B22A1FF4-0925-C8C8-B5C5-DC9CE1B91DDE}"/>
              </a:ext>
            </a:extLst>
          </p:cNvPr>
          <p:cNvSpPr txBox="1">
            <a:spLocks/>
          </p:cNvSpPr>
          <p:nvPr/>
        </p:nvSpPr>
        <p:spPr>
          <a:xfrm>
            <a:off x="7560752" y="4030867"/>
            <a:ext cx="4102884" cy="44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solidFill>
                  <a:srgbClr val="00AEEF"/>
                </a:solidFill>
                <a:latin typeface="Ink Free" panose="03080402000500000000" pitchFamily="66" charset="0"/>
              </a:rPr>
              <a:t>TRANSFERABLE SKILLS</a:t>
            </a:r>
          </a:p>
        </p:txBody>
      </p:sp>
      <p:sp>
        <p:nvSpPr>
          <p:cNvPr id="17" name="Text Placeholder 7">
            <a:extLst>
              <a:ext uri="{FF2B5EF4-FFF2-40B4-BE49-F238E27FC236}">
                <a16:creationId xmlns:a16="http://schemas.microsoft.com/office/drawing/2014/main" id="{C2AF41BB-5E40-1898-BBDC-32B108E19BF7}"/>
              </a:ext>
            </a:extLst>
          </p:cNvPr>
          <p:cNvSpPr txBox="1">
            <a:spLocks/>
          </p:cNvSpPr>
          <p:nvPr/>
        </p:nvSpPr>
        <p:spPr>
          <a:xfrm>
            <a:off x="7560752" y="5127341"/>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18" name="Text Placeholder 7">
            <a:extLst>
              <a:ext uri="{FF2B5EF4-FFF2-40B4-BE49-F238E27FC236}">
                <a16:creationId xmlns:a16="http://schemas.microsoft.com/office/drawing/2014/main" id="{780CAA20-2C42-9D03-0466-4F3077D2FB8E}"/>
              </a:ext>
            </a:extLst>
          </p:cNvPr>
          <p:cNvSpPr txBox="1">
            <a:spLocks/>
          </p:cNvSpPr>
          <p:nvPr/>
        </p:nvSpPr>
        <p:spPr>
          <a:xfrm>
            <a:off x="6697152" y="5127341"/>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2</a:t>
            </a:r>
            <a:endParaRPr lang="nl-NL" sz="2000" b="1">
              <a:latin typeface="Ink Free" panose="03080402000500000000" pitchFamily="66" charset="0"/>
            </a:endParaRPr>
          </a:p>
        </p:txBody>
      </p:sp>
      <p:sp>
        <p:nvSpPr>
          <p:cNvPr id="19" name="Text Placeholder 7">
            <a:extLst>
              <a:ext uri="{FF2B5EF4-FFF2-40B4-BE49-F238E27FC236}">
                <a16:creationId xmlns:a16="http://schemas.microsoft.com/office/drawing/2014/main" id="{B8541910-83C3-25C4-3A12-6C43FE63C198}"/>
              </a:ext>
            </a:extLst>
          </p:cNvPr>
          <p:cNvSpPr txBox="1">
            <a:spLocks/>
          </p:cNvSpPr>
          <p:nvPr/>
        </p:nvSpPr>
        <p:spPr>
          <a:xfrm>
            <a:off x="7560752" y="5820896"/>
            <a:ext cx="4313748"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20" name="Text Placeholder 7">
            <a:extLst>
              <a:ext uri="{FF2B5EF4-FFF2-40B4-BE49-F238E27FC236}">
                <a16:creationId xmlns:a16="http://schemas.microsoft.com/office/drawing/2014/main" id="{FE8565CB-B217-7C08-1F2D-CF65B5C7EB13}"/>
              </a:ext>
            </a:extLst>
          </p:cNvPr>
          <p:cNvSpPr txBox="1">
            <a:spLocks/>
          </p:cNvSpPr>
          <p:nvPr/>
        </p:nvSpPr>
        <p:spPr>
          <a:xfrm>
            <a:off x="6697152" y="5820896"/>
            <a:ext cx="618047" cy="540931"/>
          </a:xfrm>
          <a:prstGeom prst="roundRect">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latin typeface="Ink Free" panose="03080402000500000000" pitchFamily="66" charset="0"/>
              </a:rPr>
              <a:t>3</a:t>
            </a:r>
            <a:endParaRPr lang="nl-NL" sz="2000" b="1">
              <a:latin typeface="Ink Free" panose="03080402000500000000" pitchFamily="66" charset="0"/>
            </a:endParaRPr>
          </a:p>
        </p:txBody>
      </p:sp>
      <p:pic>
        <p:nvPicPr>
          <p:cNvPr id="21" name="Picture 2">
            <a:extLst>
              <a:ext uri="{FF2B5EF4-FFF2-40B4-BE49-F238E27FC236}">
                <a16:creationId xmlns:a16="http://schemas.microsoft.com/office/drawing/2014/main" id="{8A911732-A893-0E08-49A5-EA5744F744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6330" y="3584010"/>
            <a:ext cx="793205" cy="98382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a:extLst>
              <a:ext uri="{FF2B5EF4-FFF2-40B4-BE49-F238E27FC236}">
                <a16:creationId xmlns:a16="http://schemas.microsoft.com/office/drawing/2014/main" id="{5A1699FF-9451-6448-69DD-9DD7CA959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58748" y="3627125"/>
            <a:ext cx="956195" cy="953535"/>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7">
            <a:extLst>
              <a:ext uri="{FF2B5EF4-FFF2-40B4-BE49-F238E27FC236}">
                <a16:creationId xmlns:a16="http://schemas.microsoft.com/office/drawing/2014/main" id="{5D8A119F-F63C-1DBC-81AB-CA5EF1D332F1}"/>
              </a:ext>
            </a:extLst>
          </p:cNvPr>
          <p:cNvSpPr txBox="1">
            <a:spLocks/>
          </p:cNvSpPr>
          <p:nvPr/>
        </p:nvSpPr>
        <p:spPr>
          <a:xfrm>
            <a:off x="240516" y="793238"/>
            <a:ext cx="11710967" cy="14942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400">
                <a:latin typeface="Ink Free" panose="03080402000500000000" pitchFamily="66" charset="0"/>
              </a:rPr>
              <a:t>JOB DESCRIPTION:</a:t>
            </a:r>
          </a:p>
          <a:p>
            <a:pPr marL="0" indent="0">
              <a:buNone/>
            </a:pPr>
            <a:r>
              <a:rPr lang="en-US" sz="2400" b="1" cap="all">
                <a:solidFill>
                  <a:srgbClr val="00AEEF"/>
                </a:solidFill>
                <a:latin typeface="Ink Free" panose="03080402000500000000" pitchFamily="66" charset="0"/>
              </a:rPr>
              <a:t>TO SUPERVISE THE WAREHOUSE CREW AND MAKE SURE DEADLINES ARE ACHIEVED WITHOUT ERRORS WHILST KEEPING STAFF MOTIVATION AND MORALE AT A HIGH.</a:t>
            </a:r>
            <a:endParaRPr lang="nl-NL" sz="2400" b="1" cap="all">
              <a:solidFill>
                <a:srgbClr val="00AEEF"/>
              </a:solidFill>
              <a:latin typeface="Ink Free" panose="03080402000500000000" pitchFamily="66" charset="0"/>
            </a:endParaRPr>
          </a:p>
        </p:txBody>
      </p:sp>
      <p:sp>
        <p:nvSpPr>
          <p:cNvPr id="2" name="Slide Number Placeholder 1">
            <a:extLst>
              <a:ext uri="{FF2B5EF4-FFF2-40B4-BE49-F238E27FC236}">
                <a16:creationId xmlns:a16="http://schemas.microsoft.com/office/drawing/2014/main" id="{F9579DA9-64B1-5CD8-4080-8E60E761772E}"/>
              </a:ext>
            </a:extLst>
          </p:cNvPr>
          <p:cNvSpPr>
            <a:spLocks noGrp="1"/>
          </p:cNvSpPr>
          <p:nvPr>
            <p:ph type="sldNum" sz="quarter" idx="12"/>
          </p:nvPr>
        </p:nvSpPr>
        <p:spPr/>
        <p:txBody>
          <a:bodyPr/>
          <a:lstStyle/>
          <a:p>
            <a:fld id="{0674757E-06C4-4259-8159-64C08476399D}" type="slidenum">
              <a:rPr lang="nl-NL" smtClean="0"/>
              <a:pPr/>
              <a:t>23</a:t>
            </a:fld>
            <a:endParaRPr lang="nl-NL"/>
          </a:p>
        </p:txBody>
      </p:sp>
    </p:spTree>
    <p:extLst>
      <p:ext uri="{BB962C8B-B14F-4D97-AF65-F5344CB8AC3E}">
        <p14:creationId xmlns:p14="http://schemas.microsoft.com/office/powerpoint/2010/main" val="2029407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BA666C-E305-0C7F-AEFA-8657CCAEC401}"/>
              </a:ext>
            </a:extLst>
          </p:cNvPr>
          <p:cNvSpPr>
            <a:spLocks noGrp="1"/>
          </p:cNvSpPr>
          <p:nvPr>
            <p:ph type="title"/>
          </p:nvPr>
        </p:nvSpPr>
        <p:spPr>
          <a:xfrm>
            <a:off x="163534" y="62654"/>
            <a:ext cx="9526566" cy="706438"/>
          </a:xfrm>
        </p:spPr>
        <p:txBody>
          <a:bodyPr/>
          <a:lstStyle/>
          <a:p>
            <a:r>
              <a:rPr lang="nl-NL"/>
              <a:t>JOB TITLE – </a:t>
            </a:r>
            <a:r>
              <a:rPr lang="nl-NL">
                <a:solidFill>
                  <a:schemeClr val="accent4">
                    <a:lumMod val="75000"/>
                  </a:schemeClr>
                </a:solidFill>
              </a:rPr>
              <a:t>WAREHOUSE SUPERVISOR</a:t>
            </a:r>
          </a:p>
        </p:txBody>
      </p:sp>
      <p:sp>
        <p:nvSpPr>
          <p:cNvPr id="23" name="Text Placeholder 7">
            <a:extLst>
              <a:ext uri="{FF2B5EF4-FFF2-40B4-BE49-F238E27FC236}">
                <a16:creationId xmlns:a16="http://schemas.microsoft.com/office/drawing/2014/main" id="{DC11152F-2B77-2E66-6B7C-557853BD18F3}"/>
              </a:ext>
            </a:extLst>
          </p:cNvPr>
          <p:cNvSpPr txBox="1">
            <a:spLocks/>
          </p:cNvSpPr>
          <p:nvPr/>
        </p:nvSpPr>
        <p:spPr>
          <a:xfrm>
            <a:off x="240516" y="769092"/>
            <a:ext cx="11710967" cy="81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a:latin typeface="Ink Free" panose="03080402000500000000" pitchFamily="66" charset="0"/>
              </a:rPr>
              <a:t>HOW DO YOU THINK THESE CAN ADD TO SUCCESS?</a:t>
            </a:r>
          </a:p>
        </p:txBody>
      </p:sp>
      <p:sp>
        <p:nvSpPr>
          <p:cNvPr id="24" name="Text Placeholder 7">
            <a:extLst>
              <a:ext uri="{FF2B5EF4-FFF2-40B4-BE49-F238E27FC236}">
                <a16:creationId xmlns:a16="http://schemas.microsoft.com/office/drawing/2014/main" id="{0105186A-06F5-9923-BB85-5BB93BE6428C}"/>
              </a:ext>
            </a:extLst>
          </p:cNvPr>
          <p:cNvSpPr txBox="1">
            <a:spLocks/>
          </p:cNvSpPr>
          <p:nvPr/>
        </p:nvSpPr>
        <p:spPr>
          <a:xfrm>
            <a:off x="317499" y="1277968"/>
            <a:ext cx="11557001" cy="5275232"/>
          </a:xfrm>
          <a:prstGeom prst="roundRect">
            <a:avLst>
              <a:gd name="adj" fmla="val 3674"/>
            </a:avLst>
          </a:prstGeom>
          <a:solidFill>
            <a:schemeClr val="bg1"/>
          </a:solidFill>
          <a:effectLst>
            <a:glow rad="63500">
              <a:schemeClr val="accent3">
                <a:satMod val="175000"/>
                <a:alpha val="40000"/>
              </a:schemeClr>
            </a:glo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nl-NL" sz="2000" b="1">
              <a:latin typeface="Ink Free" panose="03080402000500000000" pitchFamily="66" charset="0"/>
            </a:endParaRPr>
          </a:p>
        </p:txBody>
      </p:sp>
      <p:sp>
        <p:nvSpPr>
          <p:cNvPr id="2" name="Slide Number Placeholder 1">
            <a:extLst>
              <a:ext uri="{FF2B5EF4-FFF2-40B4-BE49-F238E27FC236}">
                <a16:creationId xmlns:a16="http://schemas.microsoft.com/office/drawing/2014/main" id="{192960F5-90B6-7997-B13D-1E542AD57556}"/>
              </a:ext>
            </a:extLst>
          </p:cNvPr>
          <p:cNvSpPr>
            <a:spLocks noGrp="1"/>
          </p:cNvSpPr>
          <p:nvPr>
            <p:ph type="sldNum" sz="quarter" idx="12"/>
          </p:nvPr>
        </p:nvSpPr>
        <p:spPr/>
        <p:txBody>
          <a:bodyPr/>
          <a:lstStyle/>
          <a:p>
            <a:fld id="{0674757E-06C4-4259-8159-64C08476399D}" type="slidenum">
              <a:rPr lang="nl-NL" smtClean="0"/>
              <a:pPr/>
              <a:t>24</a:t>
            </a:fld>
            <a:endParaRPr lang="nl-NL"/>
          </a:p>
        </p:txBody>
      </p:sp>
    </p:spTree>
    <p:extLst>
      <p:ext uri="{BB962C8B-B14F-4D97-AF65-F5344CB8AC3E}">
        <p14:creationId xmlns:p14="http://schemas.microsoft.com/office/powerpoint/2010/main" val="19718260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0C92EF-245F-84E6-5E27-D327F7C85EF3}"/>
              </a:ext>
            </a:extLst>
          </p:cNvPr>
          <p:cNvSpPr>
            <a:spLocks noGrp="1"/>
          </p:cNvSpPr>
          <p:nvPr>
            <p:ph type="title"/>
          </p:nvPr>
        </p:nvSpPr>
        <p:spPr/>
        <p:txBody>
          <a:bodyPr/>
          <a:lstStyle/>
          <a:p>
            <a:r>
              <a:rPr lang="nl-NL"/>
              <a:t>YOUR ADDITIONAL NOTES</a:t>
            </a:r>
          </a:p>
        </p:txBody>
      </p:sp>
      <p:sp>
        <p:nvSpPr>
          <p:cNvPr id="2" name="Slide Number Placeholder 1">
            <a:extLst>
              <a:ext uri="{FF2B5EF4-FFF2-40B4-BE49-F238E27FC236}">
                <a16:creationId xmlns:a16="http://schemas.microsoft.com/office/drawing/2014/main" id="{EE0F25F4-AD1B-B4E0-F099-ED722A6B3D73}"/>
              </a:ext>
            </a:extLst>
          </p:cNvPr>
          <p:cNvSpPr>
            <a:spLocks noGrp="1"/>
          </p:cNvSpPr>
          <p:nvPr>
            <p:ph type="sldNum" sz="quarter" idx="10"/>
          </p:nvPr>
        </p:nvSpPr>
        <p:spPr/>
        <p:txBody>
          <a:bodyPr/>
          <a:lstStyle/>
          <a:p>
            <a:fld id="{0674757E-06C4-4259-8159-64C08476399D}" type="slidenum">
              <a:rPr lang="nl-NL" smtClean="0"/>
              <a:pPr/>
              <a:t>25</a:t>
            </a:fld>
            <a:endParaRPr lang="nl-NL"/>
          </a:p>
        </p:txBody>
      </p:sp>
    </p:spTree>
    <p:extLst>
      <p:ext uri="{BB962C8B-B14F-4D97-AF65-F5344CB8AC3E}">
        <p14:creationId xmlns:p14="http://schemas.microsoft.com/office/powerpoint/2010/main" val="23340126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70246-E744-77AA-C2E4-31BF5DD24F4E}"/>
              </a:ext>
            </a:extLst>
          </p:cNvPr>
          <p:cNvSpPr>
            <a:spLocks noGrp="1"/>
          </p:cNvSpPr>
          <p:nvPr>
            <p:ph type="title"/>
          </p:nvPr>
        </p:nvSpPr>
        <p:spPr/>
        <p:txBody>
          <a:bodyPr/>
          <a:lstStyle/>
          <a:p>
            <a:r>
              <a:rPr lang="nl-NL"/>
              <a:t>YOUR ADDITIONAL NOTES</a:t>
            </a:r>
          </a:p>
        </p:txBody>
      </p:sp>
      <p:sp>
        <p:nvSpPr>
          <p:cNvPr id="3" name="Slide Number Placeholder 2">
            <a:extLst>
              <a:ext uri="{FF2B5EF4-FFF2-40B4-BE49-F238E27FC236}">
                <a16:creationId xmlns:a16="http://schemas.microsoft.com/office/drawing/2014/main" id="{CBCC4358-FE1C-BD4D-B4E0-4EF025F9DA94}"/>
              </a:ext>
            </a:extLst>
          </p:cNvPr>
          <p:cNvSpPr>
            <a:spLocks noGrp="1"/>
          </p:cNvSpPr>
          <p:nvPr>
            <p:ph type="sldNum" sz="quarter" idx="10"/>
          </p:nvPr>
        </p:nvSpPr>
        <p:spPr/>
        <p:txBody>
          <a:bodyPr/>
          <a:lstStyle/>
          <a:p>
            <a:fld id="{0674757E-06C4-4259-8159-64C08476399D}" type="slidenum">
              <a:rPr lang="nl-NL" smtClean="0"/>
              <a:pPr/>
              <a:t>26</a:t>
            </a:fld>
            <a:endParaRPr lang="nl-NL"/>
          </a:p>
        </p:txBody>
      </p:sp>
    </p:spTree>
    <p:extLst>
      <p:ext uri="{BB962C8B-B14F-4D97-AF65-F5344CB8AC3E}">
        <p14:creationId xmlns:p14="http://schemas.microsoft.com/office/powerpoint/2010/main" val="24298405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70246-E744-77AA-C2E4-31BF5DD24F4E}"/>
              </a:ext>
            </a:extLst>
          </p:cNvPr>
          <p:cNvSpPr>
            <a:spLocks noGrp="1"/>
          </p:cNvSpPr>
          <p:nvPr>
            <p:ph type="title"/>
          </p:nvPr>
        </p:nvSpPr>
        <p:spPr/>
        <p:txBody>
          <a:bodyPr/>
          <a:lstStyle/>
          <a:p>
            <a:r>
              <a:rPr lang="nl-NL"/>
              <a:t>ONE WORD ... ONE SENTENCE</a:t>
            </a:r>
          </a:p>
        </p:txBody>
      </p:sp>
      <p:sp>
        <p:nvSpPr>
          <p:cNvPr id="5" name="Text Placeholder 7">
            <a:extLst>
              <a:ext uri="{FF2B5EF4-FFF2-40B4-BE49-F238E27FC236}">
                <a16:creationId xmlns:a16="http://schemas.microsoft.com/office/drawing/2014/main" id="{214585FF-1903-6539-42B2-69629E303C37}"/>
              </a:ext>
            </a:extLst>
          </p:cNvPr>
          <p:cNvSpPr txBox="1">
            <a:spLocks/>
          </p:cNvSpPr>
          <p:nvPr/>
        </p:nvSpPr>
        <p:spPr>
          <a:xfrm>
            <a:off x="4792152" y="769092"/>
            <a:ext cx="6917248" cy="1231943"/>
          </a:xfrm>
          <a:prstGeom prst="roundRect">
            <a:avLst>
              <a:gd name="adj" fmla="val 13574"/>
            </a:avLst>
          </a:prstGeom>
          <a:solidFill>
            <a:schemeClr val="bg1"/>
          </a:solidFill>
          <a:effectLst>
            <a:glow rad="63500">
              <a:schemeClr val="accent3">
                <a:satMod val="175000"/>
                <a:alpha val="40000"/>
              </a:schemeClr>
            </a:glo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latin typeface="Ink Free" panose="03080402000500000000" pitchFamily="66" charset="0"/>
              </a:rPr>
              <a:t>MY WORD THAT DESCRIBES TODAY’S WORKSHOP IS ...  </a:t>
            </a:r>
          </a:p>
        </p:txBody>
      </p:sp>
      <p:sp>
        <p:nvSpPr>
          <p:cNvPr id="6" name="Text Placeholder 7">
            <a:extLst>
              <a:ext uri="{FF2B5EF4-FFF2-40B4-BE49-F238E27FC236}">
                <a16:creationId xmlns:a16="http://schemas.microsoft.com/office/drawing/2014/main" id="{45CD44CB-FB3C-903A-0E28-ACF4A002A961}"/>
              </a:ext>
            </a:extLst>
          </p:cNvPr>
          <p:cNvSpPr txBox="1">
            <a:spLocks/>
          </p:cNvSpPr>
          <p:nvPr/>
        </p:nvSpPr>
        <p:spPr>
          <a:xfrm>
            <a:off x="4792152" y="2311401"/>
            <a:ext cx="6917248" cy="3606800"/>
          </a:xfrm>
          <a:prstGeom prst="roundRect">
            <a:avLst>
              <a:gd name="adj" fmla="val 4774"/>
            </a:avLst>
          </a:prstGeom>
          <a:solidFill>
            <a:schemeClr val="bg1"/>
          </a:solidFill>
          <a:effectLst>
            <a:glow rad="63500">
              <a:schemeClr val="accent3">
                <a:satMod val="175000"/>
                <a:alpha val="40000"/>
              </a:schemeClr>
            </a:glo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2000" b="1">
                <a:latin typeface="Ink Free" panose="03080402000500000000" pitchFamily="66" charset="0"/>
              </a:rPr>
              <a:t>I CHOSE THAT WORD BECAUSE ...</a:t>
            </a:r>
          </a:p>
        </p:txBody>
      </p:sp>
      <p:sp>
        <p:nvSpPr>
          <p:cNvPr id="3" name="Slide Number Placeholder 2">
            <a:extLst>
              <a:ext uri="{FF2B5EF4-FFF2-40B4-BE49-F238E27FC236}">
                <a16:creationId xmlns:a16="http://schemas.microsoft.com/office/drawing/2014/main" id="{69B16D13-59B0-4791-5D68-ED90520BACF4}"/>
              </a:ext>
            </a:extLst>
          </p:cNvPr>
          <p:cNvSpPr>
            <a:spLocks noGrp="1"/>
          </p:cNvSpPr>
          <p:nvPr>
            <p:ph type="sldNum" sz="quarter" idx="12"/>
          </p:nvPr>
        </p:nvSpPr>
        <p:spPr/>
        <p:txBody>
          <a:bodyPr/>
          <a:lstStyle/>
          <a:p>
            <a:fld id="{0674757E-06C4-4259-8159-64C08476399D}" type="slidenum">
              <a:rPr lang="nl-NL" smtClean="0"/>
              <a:pPr/>
              <a:t>27</a:t>
            </a:fld>
            <a:endParaRPr lang="nl-NL"/>
          </a:p>
        </p:txBody>
      </p:sp>
    </p:spTree>
    <p:extLst>
      <p:ext uri="{BB962C8B-B14F-4D97-AF65-F5344CB8AC3E}">
        <p14:creationId xmlns:p14="http://schemas.microsoft.com/office/powerpoint/2010/main" val="823113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A56C454-AD0B-04EA-142F-2820DAEB4DB8}"/>
              </a:ext>
            </a:extLst>
          </p:cNvPr>
          <p:cNvSpPr txBox="1"/>
          <p:nvPr/>
        </p:nvSpPr>
        <p:spPr>
          <a:xfrm>
            <a:off x="0" y="6011158"/>
            <a:ext cx="5563633" cy="1015663"/>
          </a:xfrm>
          <a:prstGeom prst="rect">
            <a:avLst/>
          </a:prstGeom>
          <a:noFill/>
        </p:spPr>
        <p:txBody>
          <a:bodyPr wrap="square" rtlCol="0">
            <a:spAutoFit/>
          </a:bodyPr>
          <a:lstStyle/>
          <a:p>
            <a:pPr marL="0" marR="0">
              <a:spcBef>
                <a:spcPts val="0"/>
              </a:spcBef>
              <a:spcAft>
                <a:spcPts val="0"/>
              </a:spcAft>
            </a:pPr>
            <a:endParaRPr lang="en-US" sz="1000" i="1" dirty="0">
              <a:effectLst/>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r>
              <a:rPr lang="en-US" sz="1000" i="1" dirty="0">
                <a:effectLst/>
                <a:latin typeface="Delivery" panose="020F0503020204020204" pitchFamily="34" charset="0"/>
                <a:ea typeface="Delivery" panose="020F0503020204020204" pitchFamily="34" charset="0"/>
                <a:cs typeface="Delivery" panose="020F0503020204020204" pitchFamily="34" charset="0"/>
              </a:rPr>
              <a:t>Disclaimer:</a:t>
            </a:r>
            <a:endParaRPr lang="en-US" sz="1000" dirty="0">
              <a:effectLst/>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r>
              <a:rPr lang="en-US" sz="1000" dirty="0">
                <a:effectLst/>
                <a:latin typeface="Delivery" panose="020F0503020204020204" pitchFamily="34" charset="0"/>
                <a:ea typeface="Delivery" panose="020F0503020204020204" pitchFamily="34" charset="0"/>
                <a:cs typeface="Delivery" panose="020F0503020204020204" pitchFamily="34" charset="0"/>
              </a:rPr>
              <a:t>The material contains images from Shutterstock. These images cannot be used in any other materials by anyone without applicable Shutterstock licensing.</a:t>
            </a:r>
          </a:p>
          <a:p>
            <a:pPr marL="0" marR="0">
              <a:spcBef>
                <a:spcPts val="0"/>
              </a:spcBef>
              <a:spcAft>
                <a:spcPts val="0"/>
              </a:spcAft>
            </a:pPr>
            <a:r>
              <a:rPr lang="en-US" sz="1000" dirty="0">
                <a:effectLst/>
                <a:latin typeface="Delivery" panose="020F0503020204020204" pitchFamily="34" charset="0"/>
                <a:ea typeface="Delivery" panose="020F0503020204020204" pitchFamily="34" charset="0"/>
                <a:cs typeface="Delivery" panose="020F0503020204020204" pitchFamily="34" charset="0"/>
              </a:rPr>
              <a:t>Some of the icons used in this material originate from </a:t>
            </a:r>
            <a:r>
              <a:rPr lang="en-US" sz="1000" dirty="0" err="1">
                <a:effectLst/>
                <a:latin typeface="Delivery" panose="020F0503020204020204" pitchFamily="34" charset="0"/>
                <a:ea typeface="Delivery" panose="020F0503020204020204" pitchFamily="34" charset="0"/>
                <a:cs typeface="Delivery" panose="020F0503020204020204" pitchFamily="34" charset="0"/>
              </a:rPr>
              <a:t>Flaticon</a:t>
            </a:r>
            <a:r>
              <a:rPr lang="en-US" sz="1000" dirty="0">
                <a:effectLst/>
                <a:latin typeface="Delivery" panose="020F0503020204020204" pitchFamily="34" charset="0"/>
                <a:ea typeface="Delivery" panose="020F0503020204020204" pitchFamily="34" charset="0"/>
                <a:cs typeface="Delivery" panose="020F0503020204020204" pitchFamily="34" charset="0"/>
              </a:rPr>
              <a:t>.</a:t>
            </a:r>
          </a:p>
          <a:p>
            <a:endParaRPr lang="en-US" sz="1000" dirty="0">
              <a:latin typeface="Delivery" panose="020F0503020204020204" pitchFamily="34" charset="0"/>
              <a:ea typeface="Delivery" panose="020F0503020204020204" pitchFamily="34" charset="0"/>
              <a:cs typeface="Delivery" panose="020F0503020204020204" pitchFamily="34" charset="0"/>
            </a:endParaRPr>
          </a:p>
        </p:txBody>
      </p:sp>
    </p:spTree>
    <p:extLst>
      <p:ext uri="{BB962C8B-B14F-4D97-AF65-F5344CB8AC3E}">
        <p14:creationId xmlns:p14="http://schemas.microsoft.com/office/powerpoint/2010/main" val="1816306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C6A7-80B3-3C67-045A-A5977E347E33}"/>
              </a:ext>
            </a:extLst>
          </p:cNvPr>
          <p:cNvSpPr>
            <a:spLocks noGrp="1"/>
          </p:cNvSpPr>
          <p:nvPr>
            <p:ph type="title"/>
          </p:nvPr>
        </p:nvSpPr>
        <p:spPr>
          <a:xfrm>
            <a:off x="163534" y="62654"/>
            <a:ext cx="8537121" cy="706438"/>
          </a:xfrm>
        </p:spPr>
        <p:txBody>
          <a:bodyPr>
            <a:normAutofit/>
          </a:bodyPr>
          <a:lstStyle/>
          <a:p>
            <a:r>
              <a:rPr lang="nl-NL"/>
              <a:t>MY FUTURE CAREER SHOULD BRING ME ...</a:t>
            </a:r>
          </a:p>
        </p:txBody>
      </p:sp>
      <p:cxnSp>
        <p:nvCxnSpPr>
          <p:cNvPr id="6" name="Straight Connector 5">
            <a:extLst>
              <a:ext uri="{FF2B5EF4-FFF2-40B4-BE49-F238E27FC236}">
                <a16:creationId xmlns:a16="http://schemas.microsoft.com/office/drawing/2014/main" id="{2D0EDE5D-7312-EE79-D48C-41D633C72407}"/>
              </a:ext>
            </a:extLst>
          </p:cNvPr>
          <p:cNvCxnSpPr>
            <a:cxnSpLocks/>
          </p:cNvCxnSpPr>
          <p:nvPr/>
        </p:nvCxnSpPr>
        <p:spPr>
          <a:xfrm flipH="1">
            <a:off x="2359026" y="1074650"/>
            <a:ext cx="3736974" cy="1993669"/>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5A9298D-1BA4-00F6-6470-5C60A2AB2F62}"/>
              </a:ext>
            </a:extLst>
          </p:cNvPr>
          <p:cNvCxnSpPr>
            <a:cxnSpLocks/>
          </p:cNvCxnSpPr>
          <p:nvPr/>
        </p:nvCxnSpPr>
        <p:spPr>
          <a:xfrm flipH="1">
            <a:off x="3072727" y="1516896"/>
            <a:ext cx="3023273" cy="167929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B6C5439-D5CE-62CF-D9A3-13AECDDD1673}"/>
              </a:ext>
            </a:extLst>
          </p:cNvPr>
          <p:cNvCxnSpPr>
            <a:cxnSpLocks/>
          </p:cNvCxnSpPr>
          <p:nvPr/>
        </p:nvCxnSpPr>
        <p:spPr>
          <a:xfrm flipH="1">
            <a:off x="3632319" y="2005153"/>
            <a:ext cx="2476381" cy="134602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F568458-3B9D-DECC-33FF-8035E1E9CB60}"/>
              </a:ext>
            </a:extLst>
          </p:cNvPr>
          <p:cNvCxnSpPr>
            <a:cxnSpLocks/>
          </p:cNvCxnSpPr>
          <p:nvPr/>
        </p:nvCxnSpPr>
        <p:spPr>
          <a:xfrm flipH="1">
            <a:off x="4230717" y="2472803"/>
            <a:ext cx="1865283" cy="1009242"/>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9C376E5-B569-57BD-8B23-BB0B03F7644F}"/>
              </a:ext>
            </a:extLst>
          </p:cNvPr>
          <p:cNvCxnSpPr>
            <a:cxnSpLocks/>
          </p:cNvCxnSpPr>
          <p:nvPr/>
        </p:nvCxnSpPr>
        <p:spPr>
          <a:xfrm flipH="1">
            <a:off x="4870509" y="2903705"/>
            <a:ext cx="1225491" cy="70620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B5F2B8-A5BF-22A7-0EEF-E0A72B33498B}"/>
              </a:ext>
            </a:extLst>
          </p:cNvPr>
          <p:cNvCxnSpPr>
            <a:cxnSpLocks/>
          </p:cNvCxnSpPr>
          <p:nvPr/>
        </p:nvCxnSpPr>
        <p:spPr>
          <a:xfrm flipH="1" flipV="1">
            <a:off x="6104646" y="1080182"/>
            <a:ext cx="3736972" cy="201447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08A725D-3BC0-937D-56E5-1226DCD638F8}"/>
              </a:ext>
            </a:extLst>
          </p:cNvPr>
          <p:cNvCxnSpPr>
            <a:cxnSpLocks/>
          </p:cNvCxnSpPr>
          <p:nvPr/>
        </p:nvCxnSpPr>
        <p:spPr>
          <a:xfrm flipH="1" flipV="1">
            <a:off x="6082360" y="1517046"/>
            <a:ext cx="3099741" cy="168756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9662C11-4BD0-66C1-3F1E-4A765C7CECC8}"/>
              </a:ext>
            </a:extLst>
          </p:cNvPr>
          <p:cNvCxnSpPr>
            <a:cxnSpLocks/>
          </p:cNvCxnSpPr>
          <p:nvPr/>
        </p:nvCxnSpPr>
        <p:spPr>
          <a:xfrm flipH="1" flipV="1">
            <a:off x="6104644" y="2013580"/>
            <a:ext cx="2441397" cy="1336799"/>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81D3AC-8EE2-6C96-9A52-42687BBF0835}"/>
              </a:ext>
            </a:extLst>
          </p:cNvPr>
          <p:cNvCxnSpPr>
            <a:cxnSpLocks/>
          </p:cNvCxnSpPr>
          <p:nvPr/>
        </p:nvCxnSpPr>
        <p:spPr>
          <a:xfrm flipH="1" flipV="1">
            <a:off x="6095998" y="2477958"/>
            <a:ext cx="1834969" cy="1027225"/>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E4D3AB3-F56A-E82E-E969-AC98AA5955DF}"/>
              </a:ext>
            </a:extLst>
          </p:cNvPr>
          <p:cNvCxnSpPr>
            <a:cxnSpLocks/>
          </p:cNvCxnSpPr>
          <p:nvPr/>
        </p:nvCxnSpPr>
        <p:spPr>
          <a:xfrm flipH="1" flipV="1">
            <a:off x="6084163" y="2903274"/>
            <a:ext cx="1253393" cy="68633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EB6351-2C2E-3381-A359-C51927DA568C}"/>
              </a:ext>
            </a:extLst>
          </p:cNvPr>
          <p:cNvCxnSpPr>
            <a:cxnSpLocks/>
          </p:cNvCxnSpPr>
          <p:nvPr/>
        </p:nvCxnSpPr>
        <p:spPr>
          <a:xfrm flipH="1" flipV="1">
            <a:off x="2372998" y="3087756"/>
            <a:ext cx="1429493" cy="3258673"/>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49DF70-4E89-CB71-2724-DA82CC467193}"/>
              </a:ext>
            </a:extLst>
          </p:cNvPr>
          <p:cNvCxnSpPr>
            <a:cxnSpLocks/>
          </p:cNvCxnSpPr>
          <p:nvPr/>
        </p:nvCxnSpPr>
        <p:spPr>
          <a:xfrm flipV="1">
            <a:off x="8402210" y="3087756"/>
            <a:ext cx="1416794" cy="3258673"/>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CCB3AEC-B788-72EF-FE94-3195F8211B0E}"/>
              </a:ext>
            </a:extLst>
          </p:cNvPr>
          <p:cNvCxnSpPr>
            <a:cxnSpLocks/>
          </p:cNvCxnSpPr>
          <p:nvPr/>
        </p:nvCxnSpPr>
        <p:spPr>
          <a:xfrm>
            <a:off x="3800809" y="6346429"/>
            <a:ext cx="4587429"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7CB799A-11FE-751A-1E63-990F1BF678E2}"/>
              </a:ext>
            </a:extLst>
          </p:cNvPr>
          <p:cNvCxnSpPr>
            <a:cxnSpLocks/>
          </p:cNvCxnSpPr>
          <p:nvPr/>
        </p:nvCxnSpPr>
        <p:spPr>
          <a:xfrm>
            <a:off x="3077560" y="3196186"/>
            <a:ext cx="1177875" cy="264772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241ECFE-91D4-50AB-9E60-CB8DFEE320F8}"/>
              </a:ext>
            </a:extLst>
          </p:cNvPr>
          <p:cNvCxnSpPr>
            <a:cxnSpLocks/>
          </p:cNvCxnSpPr>
          <p:nvPr/>
        </p:nvCxnSpPr>
        <p:spPr>
          <a:xfrm>
            <a:off x="3651465" y="3338610"/>
            <a:ext cx="942231" cy="211218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BF2219F-EAA3-E829-A8DA-6B003BF81B53}"/>
              </a:ext>
            </a:extLst>
          </p:cNvPr>
          <p:cNvCxnSpPr>
            <a:cxnSpLocks/>
          </p:cNvCxnSpPr>
          <p:nvPr/>
        </p:nvCxnSpPr>
        <p:spPr>
          <a:xfrm>
            <a:off x="4252243" y="3479046"/>
            <a:ext cx="712060" cy="161498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10714BB-504B-6D6A-AA74-707E123F0729}"/>
              </a:ext>
            </a:extLst>
          </p:cNvPr>
          <p:cNvCxnSpPr>
            <a:cxnSpLocks/>
          </p:cNvCxnSpPr>
          <p:nvPr/>
        </p:nvCxnSpPr>
        <p:spPr>
          <a:xfrm>
            <a:off x="4911594" y="3609912"/>
            <a:ext cx="471275" cy="99366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E9AF614-DD91-1A90-390C-4911C5520685}"/>
              </a:ext>
            </a:extLst>
          </p:cNvPr>
          <p:cNvCxnSpPr>
            <a:cxnSpLocks/>
          </p:cNvCxnSpPr>
          <p:nvPr/>
        </p:nvCxnSpPr>
        <p:spPr>
          <a:xfrm>
            <a:off x="5406345" y="4590467"/>
            <a:ext cx="1398524" cy="26085"/>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269CC0-5860-A8DC-D598-900F488F9A78}"/>
              </a:ext>
            </a:extLst>
          </p:cNvPr>
          <p:cNvCxnSpPr>
            <a:cxnSpLocks/>
          </p:cNvCxnSpPr>
          <p:nvPr/>
        </p:nvCxnSpPr>
        <p:spPr>
          <a:xfrm>
            <a:off x="4957602" y="5079009"/>
            <a:ext cx="2270097" cy="15021"/>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116F8DA-B116-F1C7-3649-1E6A7CCDDBF1}"/>
              </a:ext>
            </a:extLst>
          </p:cNvPr>
          <p:cNvCxnSpPr>
            <a:cxnSpLocks/>
          </p:cNvCxnSpPr>
          <p:nvPr/>
        </p:nvCxnSpPr>
        <p:spPr>
          <a:xfrm>
            <a:off x="4605534" y="5462671"/>
            <a:ext cx="2992772" cy="3654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752999D-83FD-4A93-866A-9385C6FF6DC9}"/>
              </a:ext>
            </a:extLst>
          </p:cNvPr>
          <p:cNvCxnSpPr>
            <a:cxnSpLocks/>
          </p:cNvCxnSpPr>
          <p:nvPr/>
        </p:nvCxnSpPr>
        <p:spPr>
          <a:xfrm>
            <a:off x="4263502" y="5844250"/>
            <a:ext cx="3714468" cy="3155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E78453A-B468-960D-C00C-FB5E08F2D5C3}"/>
              </a:ext>
            </a:extLst>
          </p:cNvPr>
          <p:cNvCxnSpPr>
            <a:cxnSpLocks/>
          </p:cNvCxnSpPr>
          <p:nvPr/>
        </p:nvCxnSpPr>
        <p:spPr>
          <a:xfrm flipV="1">
            <a:off x="7959085" y="3228740"/>
            <a:ext cx="1210970" cy="264706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5E73C00-4C26-779B-051C-AB56B005761A}"/>
              </a:ext>
            </a:extLst>
          </p:cNvPr>
          <p:cNvCxnSpPr>
            <a:cxnSpLocks/>
          </p:cNvCxnSpPr>
          <p:nvPr/>
        </p:nvCxnSpPr>
        <p:spPr>
          <a:xfrm flipV="1">
            <a:off x="7617925" y="3358806"/>
            <a:ext cx="944003" cy="211033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A7A5FF-1D59-885D-E7EA-94856AAE5766}"/>
              </a:ext>
            </a:extLst>
          </p:cNvPr>
          <p:cNvCxnSpPr>
            <a:cxnSpLocks/>
          </p:cNvCxnSpPr>
          <p:nvPr/>
        </p:nvCxnSpPr>
        <p:spPr>
          <a:xfrm flipV="1">
            <a:off x="7218176" y="3500824"/>
            <a:ext cx="699179" cy="159499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28F4B5-D7F2-1CFE-7311-16300ED19897}"/>
              </a:ext>
            </a:extLst>
          </p:cNvPr>
          <p:cNvCxnSpPr>
            <a:cxnSpLocks/>
          </p:cNvCxnSpPr>
          <p:nvPr/>
        </p:nvCxnSpPr>
        <p:spPr>
          <a:xfrm flipV="1">
            <a:off x="6848178" y="3598073"/>
            <a:ext cx="496135" cy="1018479"/>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04FBE5B-19D9-45FD-E0DC-C6209AA25DB1}"/>
              </a:ext>
            </a:extLst>
          </p:cNvPr>
          <p:cNvCxnSpPr>
            <a:cxnSpLocks/>
          </p:cNvCxnSpPr>
          <p:nvPr/>
        </p:nvCxnSpPr>
        <p:spPr>
          <a:xfrm>
            <a:off x="6096001" y="1074650"/>
            <a:ext cx="0" cy="27790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2A941A6-2B0C-F25B-AF95-3475C194E60E}"/>
              </a:ext>
            </a:extLst>
          </p:cNvPr>
          <p:cNvCxnSpPr>
            <a:cxnSpLocks/>
          </p:cNvCxnSpPr>
          <p:nvPr/>
        </p:nvCxnSpPr>
        <p:spPr>
          <a:xfrm flipH="1">
            <a:off x="6096001" y="3092446"/>
            <a:ext cx="3736975" cy="7612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F90C101-12E6-0BFF-A716-526778078A7C}"/>
              </a:ext>
            </a:extLst>
          </p:cNvPr>
          <p:cNvCxnSpPr>
            <a:cxnSpLocks/>
          </p:cNvCxnSpPr>
          <p:nvPr/>
        </p:nvCxnSpPr>
        <p:spPr>
          <a:xfrm>
            <a:off x="2359026" y="3068319"/>
            <a:ext cx="3736975" cy="78537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BF876DF-E956-0882-9412-60A76CE64253}"/>
              </a:ext>
            </a:extLst>
          </p:cNvPr>
          <p:cNvCxnSpPr>
            <a:cxnSpLocks/>
          </p:cNvCxnSpPr>
          <p:nvPr/>
        </p:nvCxnSpPr>
        <p:spPr>
          <a:xfrm flipH="1" flipV="1">
            <a:off x="6096001" y="3841632"/>
            <a:ext cx="2309573" cy="250479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0950DD6-EA0A-C81E-AEA4-28229A83A91E}"/>
              </a:ext>
            </a:extLst>
          </p:cNvPr>
          <p:cNvCxnSpPr>
            <a:cxnSpLocks/>
          </p:cNvCxnSpPr>
          <p:nvPr/>
        </p:nvCxnSpPr>
        <p:spPr>
          <a:xfrm flipV="1">
            <a:off x="3786428" y="3841632"/>
            <a:ext cx="2309573" cy="250479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36" name="Picture 2">
            <a:extLst>
              <a:ext uri="{FF2B5EF4-FFF2-40B4-BE49-F238E27FC236}">
                <a16:creationId xmlns:a16="http://schemas.microsoft.com/office/drawing/2014/main" id="{9ABF3151-A46B-F531-574D-99F4073ECD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9832" y="2669195"/>
            <a:ext cx="1929486" cy="195353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3085C082-FEB3-2857-6281-33584B3ED8AD}"/>
              </a:ext>
            </a:extLst>
          </p:cNvPr>
          <p:cNvSpPr txBox="1"/>
          <p:nvPr/>
        </p:nvSpPr>
        <p:spPr>
          <a:xfrm>
            <a:off x="5322701" y="592774"/>
            <a:ext cx="1603375" cy="461665"/>
          </a:xfrm>
          <a:prstGeom prst="rect">
            <a:avLst/>
          </a:prstGeom>
          <a:noFill/>
        </p:spPr>
        <p:txBody>
          <a:bodyPr wrap="square" rtlCol="0">
            <a:spAutoFit/>
          </a:bodyPr>
          <a:lstStyle/>
          <a:p>
            <a:pPr algn="ctr">
              <a:spcAft>
                <a:spcPts val="2400"/>
              </a:spcAft>
            </a:pPr>
            <a:r>
              <a:rPr lang="nl-NL" sz="2400" b="1">
                <a:latin typeface="Ink Free" panose="03080402000500000000" pitchFamily="66" charset="0"/>
              </a:rPr>
              <a:t>Other...</a:t>
            </a:r>
          </a:p>
        </p:txBody>
      </p:sp>
      <p:sp>
        <p:nvSpPr>
          <p:cNvPr id="38" name="TextBox 37">
            <a:extLst>
              <a:ext uri="{FF2B5EF4-FFF2-40B4-BE49-F238E27FC236}">
                <a16:creationId xmlns:a16="http://schemas.microsoft.com/office/drawing/2014/main" id="{0BDACA0D-3D88-C605-C2F5-7CF8BA7BA79B}"/>
              </a:ext>
            </a:extLst>
          </p:cNvPr>
          <p:cNvSpPr txBox="1"/>
          <p:nvPr/>
        </p:nvSpPr>
        <p:spPr>
          <a:xfrm>
            <a:off x="9861094" y="2795465"/>
            <a:ext cx="1603375" cy="461665"/>
          </a:xfrm>
          <a:prstGeom prst="rect">
            <a:avLst/>
          </a:prstGeom>
          <a:noFill/>
        </p:spPr>
        <p:txBody>
          <a:bodyPr wrap="square" rtlCol="0">
            <a:spAutoFit/>
          </a:bodyPr>
          <a:lstStyle/>
          <a:p>
            <a:pPr algn="ctr">
              <a:spcAft>
                <a:spcPts val="2400"/>
              </a:spcAft>
            </a:pPr>
            <a:r>
              <a:rPr lang="nl-NL" sz="2400" b="1">
                <a:latin typeface="Ink Free" panose="03080402000500000000" pitchFamily="66" charset="0"/>
              </a:rPr>
              <a:t>Happiness</a:t>
            </a:r>
          </a:p>
        </p:txBody>
      </p:sp>
      <p:sp>
        <p:nvSpPr>
          <p:cNvPr id="39" name="TextBox 38">
            <a:extLst>
              <a:ext uri="{FF2B5EF4-FFF2-40B4-BE49-F238E27FC236}">
                <a16:creationId xmlns:a16="http://schemas.microsoft.com/office/drawing/2014/main" id="{B58FDF71-AA0A-EFB6-5A87-9C309039056E}"/>
              </a:ext>
            </a:extLst>
          </p:cNvPr>
          <p:cNvSpPr txBox="1"/>
          <p:nvPr/>
        </p:nvSpPr>
        <p:spPr>
          <a:xfrm>
            <a:off x="1716028" y="6233054"/>
            <a:ext cx="2227538" cy="461665"/>
          </a:xfrm>
          <a:prstGeom prst="rect">
            <a:avLst/>
          </a:prstGeom>
          <a:noFill/>
        </p:spPr>
        <p:txBody>
          <a:bodyPr wrap="square" rtlCol="0">
            <a:spAutoFit/>
          </a:bodyPr>
          <a:lstStyle/>
          <a:p>
            <a:pPr algn="ctr">
              <a:spcAft>
                <a:spcPts val="2400"/>
              </a:spcAft>
            </a:pPr>
            <a:r>
              <a:rPr lang="nl-NL" sz="2400" b="1">
                <a:latin typeface="Ink Free" panose="03080402000500000000" pitchFamily="66" charset="0"/>
              </a:rPr>
              <a:t>Good money</a:t>
            </a:r>
          </a:p>
        </p:txBody>
      </p:sp>
      <p:sp>
        <p:nvSpPr>
          <p:cNvPr id="40" name="TextBox 39">
            <a:extLst>
              <a:ext uri="{FF2B5EF4-FFF2-40B4-BE49-F238E27FC236}">
                <a16:creationId xmlns:a16="http://schemas.microsoft.com/office/drawing/2014/main" id="{F908E426-2C45-BBDD-0E3A-1B6844C986C7}"/>
              </a:ext>
            </a:extLst>
          </p:cNvPr>
          <p:cNvSpPr txBox="1"/>
          <p:nvPr/>
        </p:nvSpPr>
        <p:spPr>
          <a:xfrm>
            <a:off x="8120418" y="5939357"/>
            <a:ext cx="1949623" cy="830997"/>
          </a:xfrm>
          <a:prstGeom prst="rect">
            <a:avLst/>
          </a:prstGeom>
          <a:noFill/>
        </p:spPr>
        <p:txBody>
          <a:bodyPr wrap="square" rtlCol="0">
            <a:spAutoFit/>
          </a:bodyPr>
          <a:lstStyle/>
          <a:p>
            <a:pPr algn="ctr">
              <a:spcAft>
                <a:spcPts val="2400"/>
              </a:spcAft>
            </a:pPr>
            <a:r>
              <a:rPr lang="nl-NL" sz="2400" b="1">
                <a:latin typeface="Ink Free" panose="03080402000500000000" pitchFamily="66" charset="0"/>
              </a:rPr>
              <a:t>Great</a:t>
            </a:r>
            <a:br>
              <a:rPr lang="nl-NL" sz="2400" b="1">
                <a:latin typeface="Ink Free" panose="03080402000500000000" pitchFamily="66" charset="0"/>
              </a:rPr>
            </a:br>
            <a:r>
              <a:rPr lang="nl-NL" sz="2400" b="1">
                <a:latin typeface="Ink Free" panose="03080402000500000000" pitchFamily="66" charset="0"/>
              </a:rPr>
              <a:t>job content</a:t>
            </a:r>
          </a:p>
        </p:txBody>
      </p:sp>
      <p:sp>
        <p:nvSpPr>
          <p:cNvPr id="41" name="TextBox 40">
            <a:extLst>
              <a:ext uri="{FF2B5EF4-FFF2-40B4-BE49-F238E27FC236}">
                <a16:creationId xmlns:a16="http://schemas.microsoft.com/office/drawing/2014/main" id="{360280F1-4C1E-2244-3B49-7AAAD2535280}"/>
              </a:ext>
            </a:extLst>
          </p:cNvPr>
          <p:cNvSpPr txBox="1"/>
          <p:nvPr/>
        </p:nvSpPr>
        <p:spPr>
          <a:xfrm>
            <a:off x="483298" y="2734145"/>
            <a:ext cx="1966098" cy="830997"/>
          </a:xfrm>
          <a:prstGeom prst="rect">
            <a:avLst/>
          </a:prstGeom>
          <a:noFill/>
        </p:spPr>
        <p:txBody>
          <a:bodyPr wrap="square" rtlCol="0">
            <a:spAutoFit/>
          </a:bodyPr>
          <a:lstStyle/>
          <a:p>
            <a:pPr algn="ctr">
              <a:spcAft>
                <a:spcPts val="2400"/>
              </a:spcAft>
            </a:pPr>
            <a:r>
              <a:rPr lang="nl-NL" sz="2400" b="1">
                <a:latin typeface="Ink Free" panose="03080402000500000000" pitchFamily="66" charset="0"/>
              </a:rPr>
              <a:t>Growth opportunities</a:t>
            </a:r>
          </a:p>
        </p:txBody>
      </p:sp>
      <p:sp>
        <p:nvSpPr>
          <p:cNvPr id="42" name="TextBox 41">
            <a:extLst>
              <a:ext uri="{FF2B5EF4-FFF2-40B4-BE49-F238E27FC236}">
                <a16:creationId xmlns:a16="http://schemas.microsoft.com/office/drawing/2014/main" id="{B1B69FB1-A245-C692-0B87-5F5AD4EBA636}"/>
              </a:ext>
            </a:extLst>
          </p:cNvPr>
          <p:cNvSpPr txBox="1"/>
          <p:nvPr/>
        </p:nvSpPr>
        <p:spPr>
          <a:xfrm>
            <a:off x="5994643" y="2749454"/>
            <a:ext cx="481479" cy="369332"/>
          </a:xfrm>
          <a:prstGeom prst="rect">
            <a:avLst/>
          </a:prstGeom>
          <a:noFill/>
        </p:spPr>
        <p:txBody>
          <a:bodyPr wrap="square" rtlCol="0">
            <a:spAutoFit/>
          </a:bodyPr>
          <a:lstStyle/>
          <a:p>
            <a:pPr algn="r">
              <a:spcAft>
                <a:spcPts val="2400"/>
              </a:spcAft>
            </a:pPr>
            <a:r>
              <a:rPr lang="nl-NL" b="1">
                <a:latin typeface="Ink Free" panose="03080402000500000000" pitchFamily="66" charset="0"/>
              </a:rPr>
              <a:t>2</a:t>
            </a:r>
          </a:p>
        </p:txBody>
      </p:sp>
      <p:sp>
        <p:nvSpPr>
          <p:cNvPr id="43" name="TextBox 42">
            <a:extLst>
              <a:ext uri="{FF2B5EF4-FFF2-40B4-BE49-F238E27FC236}">
                <a16:creationId xmlns:a16="http://schemas.microsoft.com/office/drawing/2014/main" id="{40F09528-1F9A-BC66-226D-8F627362DA89}"/>
              </a:ext>
            </a:extLst>
          </p:cNvPr>
          <p:cNvSpPr txBox="1"/>
          <p:nvPr/>
        </p:nvSpPr>
        <p:spPr>
          <a:xfrm>
            <a:off x="5962496" y="2320016"/>
            <a:ext cx="481479" cy="369332"/>
          </a:xfrm>
          <a:prstGeom prst="rect">
            <a:avLst/>
          </a:prstGeom>
          <a:noFill/>
        </p:spPr>
        <p:txBody>
          <a:bodyPr wrap="square" rtlCol="0">
            <a:spAutoFit/>
          </a:bodyPr>
          <a:lstStyle/>
          <a:p>
            <a:pPr algn="r">
              <a:spcAft>
                <a:spcPts val="2400"/>
              </a:spcAft>
            </a:pPr>
            <a:r>
              <a:rPr lang="nl-NL" b="1">
                <a:latin typeface="Ink Free" panose="03080402000500000000" pitchFamily="66" charset="0"/>
              </a:rPr>
              <a:t>4</a:t>
            </a:r>
          </a:p>
        </p:txBody>
      </p:sp>
      <p:sp>
        <p:nvSpPr>
          <p:cNvPr id="44" name="TextBox 43">
            <a:extLst>
              <a:ext uri="{FF2B5EF4-FFF2-40B4-BE49-F238E27FC236}">
                <a16:creationId xmlns:a16="http://schemas.microsoft.com/office/drawing/2014/main" id="{FF81A357-292A-099F-1735-076771813488}"/>
              </a:ext>
            </a:extLst>
          </p:cNvPr>
          <p:cNvSpPr txBox="1"/>
          <p:nvPr/>
        </p:nvSpPr>
        <p:spPr>
          <a:xfrm>
            <a:off x="5971432" y="1848539"/>
            <a:ext cx="481479" cy="369332"/>
          </a:xfrm>
          <a:prstGeom prst="rect">
            <a:avLst/>
          </a:prstGeom>
          <a:noFill/>
        </p:spPr>
        <p:txBody>
          <a:bodyPr wrap="square" rtlCol="0">
            <a:spAutoFit/>
          </a:bodyPr>
          <a:lstStyle/>
          <a:p>
            <a:pPr algn="r">
              <a:spcAft>
                <a:spcPts val="2400"/>
              </a:spcAft>
            </a:pPr>
            <a:r>
              <a:rPr lang="nl-NL" b="1">
                <a:latin typeface="Ink Free" panose="03080402000500000000" pitchFamily="66" charset="0"/>
              </a:rPr>
              <a:t>6</a:t>
            </a:r>
          </a:p>
        </p:txBody>
      </p:sp>
      <p:sp>
        <p:nvSpPr>
          <p:cNvPr id="45" name="TextBox 44">
            <a:extLst>
              <a:ext uri="{FF2B5EF4-FFF2-40B4-BE49-F238E27FC236}">
                <a16:creationId xmlns:a16="http://schemas.microsoft.com/office/drawing/2014/main" id="{FF6308FE-F682-5403-E365-D10C37089B5C}"/>
              </a:ext>
            </a:extLst>
          </p:cNvPr>
          <p:cNvSpPr txBox="1"/>
          <p:nvPr/>
        </p:nvSpPr>
        <p:spPr>
          <a:xfrm>
            <a:off x="5962495" y="1361351"/>
            <a:ext cx="481479" cy="369332"/>
          </a:xfrm>
          <a:prstGeom prst="rect">
            <a:avLst/>
          </a:prstGeom>
          <a:noFill/>
        </p:spPr>
        <p:txBody>
          <a:bodyPr wrap="square" rtlCol="0">
            <a:spAutoFit/>
          </a:bodyPr>
          <a:lstStyle/>
          <a:p>
            <a:pPr algn="r">
              <a:spcAft>
                <a:spcPts val="2400"/>
              </a:spcAft>
            </a:pPr>
            <a:r>
              <a:rPr lang="nl-NL" b="1">
                <a:latin typeface="Ink Free" panose="03080402000500000000" pitchFamily="66" charset="0"/>
              </a:rPr>
              <a:t>8</a:t>
            </a:r>
          </a:p>
        </p:txBody>
      </p:sp>
      <p:sp>
        <p:nvSpPr>
          <p:cNvPr id="46" name="TextBox 45">
            <a:extLst>
              <a:ext uri="{FF2B5EF4-FFF2-40B4-BE49-F238E27FC236}">
                <a16:creationId xmlns:a16="http://schemas.microsoft.com/office/drawing/2014/main" id="{0E84A1A7-7A42-B737-69B8-4C2E5164E485}"/>
              </a:ext>
            </a:extLst>
          </p:cNvPr>
          <p:cNvSpPr txBox="1"/>
          <p:nvPr/>
        </p:nvSpPr>
        <p:spPr>
          <a:xfrm>
            <a:off x="5976171" y="933091"/>
            <a:ext cx="481479" cy="369332"/>
          </a:xfrm>
          <a:prstGeom prst="rect">
            <a:avLst/>
          </a:prstGeom>
          <a:noFill/>
        </p:spPr>
        <p:txBody>
          <a:bodyPr wrap="square" rtlCol="0">
            <a:spAutoFit/>
          </a:bodyPr>
          <a:lstStyle/>
          <a:p>
            <a:pPr algn="r">
              <a:spcAft>
                <a:spcPts val="2400"/>
              </a:spcAft>
            </a:pPr>
            <a:r>
              <a:rPr lang="nl-NL" b="1">
                <a:latin typeface="Ink Free" panose="03080402000500000000" pitchFamily="66" charset="0"/>
              </a:rPr>
              <a:t>10</a:t>
            </a:r>
          </a:p>
        </p:txBody>
      </p:sp>
      <p:sp>
        <p:nvSpPr>
          <p:cNvPr id="2" name="Slide Number Placeholder 1">
            <a:extLst>
              <a:ext uri="{FF2B5EF4-FFF2-40B4-BE49-F238E27FC236}">
                <a16:creationId xmlns:a16="http://schemas.microsoft.com/office/drawing/2014/main" id="{F319F20F-DBBC-B24A-3BB9-9A90394E712E}"/>
              </a:ext>
            </a:extLst>
          </p:cNvPr>
          <p:cNvSpPr>
            <a:spLocks noGrp="1"/>
          </p:cNvSpPr>
          <p:nvPr>
            <p:ph type="sldNum" sz="quarter" idx="12"/>
          </p:nvPr>
        </p:nvSpPr>
        <p:spPr/>
        <p:txBody>
          <a:bodyPr/>
          <a:lstStyle/>
          <a:p>
            <a:fld id="{0674757E-06C4-4259-8159-64C08476399D}" type="slidenum">
              <a:rPr lang="nl-NL" smtClean="0"/>
              <a:pPr/>
              <a:t>3</a:t>
            </a:fld>
            <a:endParaRPr lang="nl-NL"/>
          </a:p>
        </p:txBody>
      </p:sp>
    </p:spTree>
    <p:extLst>
      <p:ext uri="{BB962C8B-B14F-4D97-AF65-F5344CB8AC3E}">
        <p14:creationId xmlns:p14="http://schemas.microsoft.com/office/powerpoint/2010/main" val="3750578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70A89A-BEF0-13CC-A6A5-3B43474F3794}"/>
              </a:ext>
            </a:extLst>
          </p:cNvPr>
          <p:cNvSpPr>
            <a:spLocks noGrp="1"/>
          </p:cNvSpPr>
          <p:nvPr>
            <p:ph type="title"/>
          </p:nvPr>
        </p:nvSpPr>
        <p:spPr>
          <a:xfrm>
            <a:off x="163534" y="62654"/>
            <a:ext cx="8804975" cy="706438"/>
          </a:xfrm>
        </p:spPr>
        <p:txBody>
          <a:bodyPr>
            <a:normAutofit/>
          </a:bodyPr>
          <a:lstStyle/>
          <a:p>
            <a:r>
              <a:rPr lang="nl-NL"/>
              <a:t>MY FUTURE CAREER SHOULD BRING ME ...</a:t>
            </a:r>
          </a:p>
        </p:txBody>
      </p:sp>
      <p:sp>
        <p:nvSpPr>
          <p:cNvPr id="5" name="Text Placeholder 4">
            <a:extLst>
              <a:ext uri="{FF2B5EF4-FFF2-40B4-BE49-F238E27FC236}">
                <a16:creationId xmlns:a16="http://schemas.microsoft.com/office/drawing/2014/main" id="{B69414E4-B57E-BFD8-4E82-C768BFCB87BC}"/>
              </a:ext>
            </a:extLst>
          </p:cNvPr>
          <p:cNvSpPr>
            <a:spLocks noGrp="1"/>
          </p:cNvSpPr>
          <p:nvPr>
            <p:ph type="body" sz="quarter" idx="11"/>
          </p:nvPr>
        </p:nvSpPr>
        <p:spPr/>
        <p:txBody>
          <a:bodyPr/>
          <a:lstStyle/>
          <a:p>
            <a:r>
              <a:rPr lang="en-US" sz="2400" b="0"/>
              <a:t>Depending on the person and your personal reasons, all areas are very important. If the money is great but the job is horrible and offers no growth opportunities, how happy are you in the end?</a:t>
            </a:r>
          </a:p>
          <a:p>
            <a:r>
              <a:rPr lang="en-US" sz="2400" b="0"/>
              <a:t>Or if the job is great and makes you happy, but the money part is not up to standard? For how long will you remain happy and satisfied?</a:t>
            </a:r>
          </a:p>
          <a:p>
            <a:r>
              <a:rPr lang="en-US" sz="2400" b="0"/>
              <a:t>Nevertheless, some of us may choose for financial reward (so short term) and others more for job content (long term). That is all good and fine.</a:t>
            </a:r>
          </a:p>
          <a:p>
            <a:endParaRPr lang="nl-NL" sz="2400" b="0"/>
          </a:p>
        </p:txBody>
      </p:sp>
      <p:sp>
        <p:nvSpPr>
          <p:cNvPr id="2" name="Slide Number Placeholder 1">
            <a:extLst>
              <a:ext uri="{FF2B5EF4-FFF2-40B4-BE49-F238E27FC236}">
                <a16:creationId xmlns:a16="http://schemas.microsoft.com/office/drawing/2014/main" id="{458BBDC1-2B12-27C6-AFC3-416E40C0CA81}"/>
              </a:ext>
            </a:extLst>
          </p:cNvPr>
          <p:cNvSpPr>
            <a:spLocks noGrp="1"/>
          </p:cNvSpPr>
          <p:nvPr>
            <p:ph type="sldNum" sz="quarter" idx="12"/>
          </p:nvPr>
        </p:nvSpPr>
        <p:spPr/>
        <p:txBody>
          <a:bodyPr/>
          <a:lstStyle/>
          <a:p>
            <a:fld id="{0674757E-06C4-4259-8159-64C08476399D}" type="slidenum">
              <a:rPr lang="nl-NL" smtClean="0"/>
              <a:pPr/>
              <a:t>4</a:t>
            </a:fld>
            <a:endParaRPr lang="nl-NL"/>
          </a:p>
        </p:txBody>
      </p:sp>
    </p:spTree>
    <p:extLst>
      <p:ext uri="{BB962C8B-B14F-4D97-AF65-F5344CB8AC3E}">
        <p14:creationId xmlns:p14="http://schemas.microsoft.com/office/powerpoint/2010/main" val="381633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6BC33CF-7DC6-7458-5833-CBF4C68063DF}"/>
              </a:ext>
            </a:extLst>
          </p:cNvPr>
          <p:cNvSpPr>
            <a:spLocks noGrp="1"/>
          </p:cNvSpPr>
          <p:nvPr>
            <p:ph type="title"/>
          </p:nvPr>
        </p:nvSpPr>
        <p:spPr/>
        <p:txBody>
          <a:bodyPr/>
          <a:lstStyle/>
          <a:p>
            <a:r>
              <a:rPr lang="nl-NL"/>
              <a:t>CAREER DEVELOPMENT – TOP TIPS</a:t>
            </a:r>
          </a:p>
        </p:txBody>
      </p:sp>
      <p:sp>
        <p:nvSpPr>
          <p:cNvPr id="8" name="Text Placeholder 7">
            <a:extLst>
              <a:ext uri="{FF2B5EF4-FFF2-40B4-BE49-F238E27FC236}">
                <a16:creationId xmlns:a16="http://schemas.microsoft.com/office/drawing/2014/main" id="{583A2DB6-F77A-117B-97CF-04289A29DEFF}"/>
              </a:ext>
            </a:extLst>
          </p:cNvPr>
          <p:cNvSpPr>
            <a:spLocks noGrp="1"/>
          </p:cNvSpPr>
          <p:nvPr>
            <p:ph type="body" sz="quarter" idx="11"/>
          </p:nvPr>
        </p:nvSpPr>
        <p:spPr>
          <a:xfrm>
            <a:off x="681378" y="1958109"/>
            <a:ext cx="8887494" cy="4418578"/>
          </a:xfrm>
        </p:spPr>
        <p:txBody>
          <a:bodyPr/>
          <a:lstStyle/>
          <a:p>
            <a:pPr marL="457200" indent="-457200">
              <a:buFont typeface="+mj-lt"/>
              <a:buAutoNum type="arabicPeriod"/>
            </a:pPr>
            <a:r>
              <a:rPr lang="en-US" sz="2200">
                <a:solidFill>
                  <a:srgbClr val="00AEEF"/>
                </a:solidFill>
              </a:rPr>
              <a:t>Identify your talents</a:t>
            </a:r>
            <a:r>
              <a:rPr lang="en-US" sz="2200" b="0"/>
              <a:t>. We all have talents each of which can be useful in many situations. Explore what can you bring to the table. What are the things you are good at? What is the value that you can add?</a:t>
            </a:r>
          </a:p>
          <a:p>
            <a:pPr marL="457200" indent="-457200">
              <a:buFont typeface="+mj-lt"/>
              <a:buAutoNum type="arabicPeriod"/>
            </a:pPr>
            <a:r>
              <a:rPr lang="en-US" sz="2200">
                <a:solidFill>
                  <a:srgbClr val="00AEEF"/>
                </a:solidFill>
              </a:rPr>
              <a:t>Embrace your strengths and weaknesses</a:t>
            </a:r>
            <a:r>
              <a:rPr lang="en-US" sz="2200" b="0"/>
              <a:t>. What is your kryptonite? Be proud of it. But also know the things that can limit you. These may be developed if possible but at least consider the fact there are some weaknesses so you know what is possible and what may be more challenging.</a:t>
            </a:r>
          </a:p>
          <a:p>
            <a:pPr marL="457200" indent="-457200">
              <a:buFont typeface="+mj-lt"/>
              <a:buAutoNum type="arabicPeriod"/>
            </a:pPr>
            <a:r>
              <a:rPr lang="en-US" sz="2200">
                <a:solidFill>
                  <a:srgbClr val="00AEEF"/>
                </a:solidFill>
              </a:rPr>
              <a:t>Turn around your 'Yeah ... But' thoughts</a:t>
            </a:r>
            <a:r>
              <a:rPr lang="en-US" sz="2200" b="0"/>
              <a:t>. Don't limit your view but broaden in and think positively. See the opportunities and take them.</a:t>
            </a:r>
          </a:p>
          <a:p>
            <a:pPr marL="457200" indent="-457200">
              <a:buFont typeface="+mj-lt"/>
              <a:buAutoNum type="arabicPeriod"/>
            </a:pPr>
            <a:r>
              <a:rPr lang="en-US" sz="2200">
                <a:solidFill>
                  <a:srgbClr val="00AEEF"/>
                </a:solidFill>
              </a:rPr>
              <a:t>Know your skill and trait gaps</a:t>
            </a:r>
            <a:r>
              <a:rPr lang="en-US" sz="2200" b="0"/>
              <a:t>. Remain open to feedback and change where necessary. Keep developing yourself  and build your skillset until you achieve mastery.</a:t>
            </a:r>
          </a:p>
          <a:p>
            <a:endParaRPr lang="nl-NL" sz="2200" b="0"/>
          </a:p>
        </p:txBody>
      </p:sp>
      <p:sp>
        <p:nvSpPr>
          <p:cNvPr id="2" name="Slide Number Placeholder 1">
            <a:extLst>
              <a:ext uri="{FF2B5EF4-FFF2-40B4-BE49-F238E27FC236}">
                <a16:creationId xmlns:a16="http://schemas.microsoft.com/office/drawing/2014/main" id="{919EDA1C-A54E-A942-036C-259A521D3598}"/>
              </a:ext>
            </a:extLst>
          </p:cNvPr>
          <p:cNvSpPr>
            <a:spLocks noGrp="1"/>
          </p:cNvSpPr>
          <p:nvPr>
            <p:ph type="sldNum" sz="quarter" idx="12"/>
          </p:nvPr>
        </p:nvSpPr>
        <p:spPr/>
        <p:txBody>
          <a:bodyPr/>
          <a:lstStyle/>
          <a:p>
            <a:fld id="{0674757E-06C4-4259-8159-64C08476399D}" type="slidenum">
              <a:rPr lang="nl-NL" smtClean="0"/>
              <a:pPr/>
              <a:t>5</a:t>
            </a:fld>
            <a:endParaRPr lang="nl-NL"/>
          </a:p>
        </p:txBody>
      </p:sp>
    </p:spTree>
    <p:extLst>
      <p:ext uri="{BB962C8B-B14F-4D97-AF65-F5344CB8AC3E}">
        <p14:creationId xmlns:p14="http://schemas.microsoft.com/office/powerpoint/2010/main" val="113975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6BC33CF-7DC6-7458-5833-CBF4C68063DF}"/>
              </a:ext>
            </a:extLst>
          </p:cNvPr>
          <p:cNvSpPr>
            <a:spLocks noGrp="1"/>
          </p:cNvSpPr>
          <p:nvPr>
            <p:ph type="title"/>
          </p:nvPr>
        </p:nvSpPr>
        <p:spPr/>
        <p:txBody>
          <a:bodyPr/>
          <a:lstStyle/>
          <a:p>
            <a:r>
              <a:rPr lang="nl-NL"/>
              <a:t>CAREER DEVELOPMENT – TOP TIPS</a:t>
            </a:r>
          </a:p>
        </p:txBody>
      </p:sp>
      <p:sp>
        <p:nvSpPr>
          <p:cNvPr id="8" name="Text Placeholder 7">
            <a:extLst>
              <a:ext uri="{FF2B5EF4-FFF2-40B4-BE49-F238E27FC236}">
                <a16:creationId xmlns:a16="http://schemas.microsoft.com/office/drawing/2014/main" id="{583A2DB6-F77A-117B-97CF-04289A29DEFF}"/>
              </a:ext>
            </a:extLst>
          </p:cNvPr>
          <p:cNvSpPr>
            <a:spLocks noGrp="1"/>
          </p:cNvSpPr>
          <p:nvPr>
            <p:ph type="body" sz="quarter" idx="11"/>
          </p:nvPr>
        </p:nvSpPr>
        <p:spPr>
          <a:xfrm>
            <a:off x="653669" y="2010316"/>
            <a:ext cx="8582694" cy="4218590"/>
          </a:xfrm>
        </p:spPr>
        <p:txBody>
          <a:bodyPr/>
          <a:lstStyle/>
          <a:p>
            <a:pPr marL="514350" indent="-514350">
              <a:buFont typeface="+mj-lt"/>
              <a:buAutoNum type="arabicPeriod" startAt="5"/>
            </a:pPr>
            <a:r>
              <a:rPr lang="en-US" sz="2200">
                <a:solidFill>
                  <a:srgbClr val="00AEEF"/>
                </a:solidFill>
              </a:rPr>
              <a:t>Map out your career development plan</a:t>
            </a:r>
            <a:r>
              <a:rPr lang="en-US" sz="2200" b="0"/>
              <a:t>. Think about the future. Where do you want to be in 5, 10, 15 years. Build a 5-year plan.</a:t>
            </a:r>
          </a:p>
          <a:p>
            <a:pPr marL="514350" indent="-514350">
              <a:buFont typeface="+mj-lt"/>
              <a:buAutoNum type="arabicPeriod" startAt="5"/>
            </a:pPr>
            <a:r>
              <a:rPr lang="en-US" sz="2200">
                <a:solidFill>
                  <a:srgbClr val="00AEEF"/>
                </a:solidFill>
              </a:rPr>
              <a:t>Own your career development</a:t>
            </a:r>
            <a:r>
              <a:rPr lang="en-US" sz="2200" b="0"/>
              <a:t>. Don't sit and wait until good things happen. Be pro-active and take action.</a:t>
            </a:r>
          </a:p>
          <a:p>
            <a:pPr marL="514350" indent="-514350">
              <a:buFont typeface="+mj-lt"/>
              <a:buAutoNum type="arabicPeriod" startAt="5"/>
            </a:pPr>
            <a:r>
              <a:rPr lang="en-US" sz="2200">
                <a:solidFill>
                  <a:srgbClr val="00AEEF"/>
                </a:solidFill>
              </a:rPr>
              <a:t>Remain open to change</a:t>
            </a:r>
            <a:r>
              <a:rPr lang="en-US" sz="2200" b="0"/>
              <a:t>. Change is the only constant so do not get stuck in one place. Embrace change as a good thing and find new opportunities.</a:t>
            </a:r>
          </a:p>
          <a:p>
            <a:r>
              <a:rPr lang="en-US" sz="2200" b="0"/>
              <a:t>Success is never guaranteed but if you sit back and relax, there is a guarantee for sure and that is that not much will happen, and you will not achieve your career goals.</a:t>
            </a:r>
          </a:p>
          <a:p>
            <a:endParaRPr lang="nl-NL" sz="2200" b="0"/>
          </a:p>
        </p:txBody>
      </p:sp>
      <p:sp>
        <p:nvSpPr>
          <p:cNvPr id="2" name="Slide Number Placeholder 1">
            <a:extLst>
              <a:ext uri="{FF2B5EF4-FFF2-40B4-BE49-F238E27FC236}">
                <a16:creationId xmlns:a16="http://schemas.microsoft.com/office/drawing/2014/main" id="{3FC2861C-2C72-D727-7A04-9F1233EA26FC}"/>
              </a:ext>
            </a:extLst>
          </p:cNvPr>
          <p:cNvSpPr>
            <a:spLocks noGrp="1"/>
          </p:cNvSpPr>
          <p:nvPr>
            <p:ph type="sldNum" sz="quarter" idx="12"/>
          </p:nvPr>
        </p:nvSpPr>
        <p:spPr/>
        <p:txBody>
          <a:bodyPr/>
          <a:lstStyle/>
          <a:p>
            <a:fld id="{0674757E-06C4-4259-8159-64C08476399D}" type="slidenum">
              <a:rPr lang="nl-NL" smtClean="0"/>
              <a:pPr/>
              <a:t>6</a:t>
            </a:fld>
            <a:endParaRPr lang="nl-NL"/>
          </a:p>
        </p:txBody>
      </p:sp>
    </p:spTree>
    <p:extLst>
      <p:ext uri="{BB962C8B-B14F-4D97-AF65-F5344CB8AC3E}">
        <p14:creationId xmlns:p14="http://schemas.microsoft.com/office/powerpoint/2010/main" val="1219973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A337D-A5EF-2622-A55A-FB5F54884260}"/>
              </a:ext>
            </a:extLst>
          </p:cNvPr>
          <p:cNvSpPr>
            <a:spLocks noGrp="1"/>
          </p:cNvSpPr>
          <p:nvPr>
            <p:ph type="title"/>
          </p:nvPr>
        </p:nvSpPr>
        <p:spPr>
          <a:xfrm>
            <a:off x="163534" y="62654"/>
            <a:ext cx="9498356" cy="706438"/>
          </a:xfrm>
        </p:spPr>
        <p:txBody>
          <a:bodyPr>
            <a:normAutofit/>
          </a:bodyPr>
          <a:lstStyle/>
          <a:p>
            <a:r>
              <a:rPr lang="nl-NL"/>
              <a:t>FOR INSPIRATION – INDUSTRIES TO PURSUE A CAREER</a:t>
            </a:r>
          </a:p>
        </p:txBody>
      </p:sp>
      <p:pic>
        <p:nvPicPr>
          <p:cNvPr id="6" name="Picture Placeholder 34" descr="A picture containing sky, smoke, fighter&#10;&#10;Description automatically generated">
            <a:extLst>
              <a:ext uri="{FF2B5EF4-FFF2-40B4-BE49-F238E27FC236}">
                <a16:creationId xmlns:a16="http://schemas.microsoft.com/office/drawing/2014/main" id="{120EEBA9-4E32-7424-93EE-41F2052926C5}"/>
              </a:ext>
            </a:extLst>
          </p:cNvPr>
          <p:cNvPicPr>
            <a:picLocks noChangeAspect="1"/>
          </p:cNvPicPr>
          <p:nvPr/>
        </p:nvPicPr>
        <p:blipFill rotWithShape="1">
          <a:blip r:embed="rId2">
            <a:extLst>
              <a:ext uri="{28A0092B-C50C-407E-A947-70E740481C1C}">
                <a14:useLocalDpi xmlns:a14="http://schemas.microsoft.com/office/drawing/2010/main" val="0"/>
              </a:ext>
            </a:extLst>
          </a:blip>
          <a:srcRect l="26764" t="1253" r="21716" b="611"/>
          <a:stretch/>
        </p:blipFill>
        <p:spPr>
          <a:xfrm>
            <a:off x="171234" y="1002748"/>
            <a:ext cx="2160000" cy="2160000"/>
          </a:xfrm>
          <a:prstGeom prst="ellipse">
            <a:avLst/>
          </a:prstGeom>
          <a:effectLst>
            <a:outerShdw blurRad="63500" sx="102000" sy="102000" algn="ctr" rotWithShape="0">
              <a:prstClr val="black">
                <a:alpha val="40000"/>
              </a:prstClr>
            </a:outerShdw>
          </a:effectLst>
        </p:spPr>
      </p:pic>
      <p:pic>
        <p:nvPicPr>
          <p:cNvPr id="7" name="Picture Placeholder 9" descr="A picture containing indoor&#10;&#10;Description automatically generated">
            <a:extLst>
              <a:ext uri="{FF2B5EF4-FFF2-40B4-BE49-F238E27FC236}">
                <a16:creationId xmlns:a16="http://schemas.microsoft.com/office/drawing/2014/main" id="{865AE2C9-03D9-18E9-6CF6-AF4CB55A1431}"/>
              </a:ext>
            </a:extLst>
          </p:cNvPr>
          <p:cNvPicPr>
            <a:picLocks noChangeAspect="1"/>
          </p:cNvPicPr>
          <p:nvPr/>
        </p:nvPicPr>
        <p:blipFill rotWithShape="1">
          <a:blip r:embed="rId3">
            <a:extLst>
              <a:ext uri="{28A0092B-C50C-407E-A947-70E740481C1C}">
                <a14:useLocalDpi xmlns:a14="http://schemas.microsoft.com/office/drawing/2010/main" val="0"/>
              </a:ext>
            </a:extLst>
          </a:blip>
          <a:srcRect l="13949" r="30057" b="16109"/>
          <a:stretch/>
        </p:blipFill>
        <p:spPr>
          <a:xfrm>
            <a:off x="2614786" y="1002748"/>
            <a:ext cx="2160000" cy="2160000"/>
          </a:xfrm>
          <a:prstGeom prst="ellipse">
            <a:avLst/>
          </a:prstGeom>
          <a:effectLst>
            <a:outerShdw blurRad="63500" sx="102000" sy="102000" algn="ctr" rotWithShape="0">
              <a:prstClr val="black">
                <a:alpha val="40000"/>
              </a:prstClr>
            </a:outerShdw>
          </a:effectLst>
        </p:spPr>
      </p:pic>
      <p:pic>
        <p:nvPicPr>
          <p:cNvPr id="8" name="Picture Placeholder 5" descr="A tractor in a field&#10;&#10;Description automatically generated with medium confidence">
            <a:extLst>
              <a:ext uri="{FF2B5EF4-FFF2-40B4-BE49-F238E27FC236}">
                <a16:creationId xmlns:a16="http://schemas.microsoft.com/office/drawing/2014/main" id="{B197EF58-CBD0-39D6-691A-1C45DD4C753C}"/>
              </a:ext>
            </a:extLst>
          </p:cNvPr>
          <p:cNvPicPr>
            <a:picLocks noChangeAspect="1"/>
          </p:cNvPicPr>
          <p:nvPr/>
        </p:nvPicPr>
        <p:blipFill rotWithShape="1">
          <a:blip r:embed="rId4">
            <a:extLst>
              <a:ext uri="{28A0092B-C50C-407E-A947-70E740481C1C}">
                <a14:useLocalDpi xmlns:a14="http://schemas.microsoft.com/office/drawing/2010/main" val="0"/>
              </a:ext>
            </a:extLst>
          </a:blip>
          <a:srcRect l="19224" t="18381" r="27677" b="1822"/>
          <a:stretch/>
        </p:blipFill>
        <p:spPr>
          <a:xfrm>
            <a:off x="5058338" y="1002748"/>
            <a:ext cx="2160000" cy="2160000"/>
          </a:xfrm>
          <a:prstGeom prst="ellipse">
            <a:avLst/>
          </a:prstGeom>
          <a:effectLst>
            <a:outerShdw blurRad="63500" sx="102000" sy="102000" algn="ctr" rotWithShape="0">
              <a:prstClr val="black">
                <a:alpha val="40000"/>
              </a:prstClr>
            </a:outerShdw>
          </a:effectLst>
        </p:spPr>
      </p:pic>
      <p:pic>
        <p:nvPicPr>
          <p:cNvPr id="9" name="Picture Placeholder 10" descr="A person working on a machine&#10;&#10;Description automatically generated with low confidence">
            <a:extLst>
              <a:ext uri="{FF2B5EF4-FFF2-40B4-BE49-F238E27FC236}">
                <a16:creationId xmlns:a16="http://schemas.microsoft.com/office/drawing/2014/main" id="{89801E72-474E-D3B5-95D3-40F5FD1F71EF}"/>
              </a:ext>
            </a:extLst>
          </p:cNvPr>
          <p:cNvPicPr>
            <a:picLocks noChangeAspect="1"/>
          </p:cNvPicPr>
          <p:nvPr/>
        </p:nvPicPr>
        <p:blipFill>
          <a:blip r:embed="rId5">
            <a:extLst>
              <a:ext uri="{28A0092B-C50C-407E-A947-70E740481C1C}">
                <a14:useLocalDpi xmlns:a14="http://schemas.microsoft.com/office/drawing/2010/main" val="0"/>
              </a:ext>
            </a:extLst>
          </a:blip>
          <a:srcRect l="16652" r="16652"/>
          <a:stretch>
            <a:fillRect/>
          </a:stretch>
        </p:blipFill>
        <p:spPr>
          <a:xfrm>
            <a:off x="7501890" y="1002748"/>
            <a:ext cx="2160000" cy="2160000"/>
          </a:xfrm>
          <a:prstGeom prst="ellipse">
            <a:avLst/>
          </a:prstGeom>
          <a:effectLst>
            <a:outerShdw blurRad="63500" sx="102000" sy="102000" algn="ctr" rotWithShape="0">
              <a:prstClr val="black">
                <a:alpha val="40000"/>
              </a:prstClr>
            </a:outerShdw>
          </a:effectLst>
        </p:spPr>
      </p:pic>
      <p:pic>
        <p:nvPicPr>
          <p:cNvPr id="10" name="Picture Placeholder 16" descr="Two people in a kitchen&#10;&#10;Description automatically generated with low confidence">
            <a:extLst>
              <a:ext uri="{FF2B5EF4-FFF2-40B4-BE49-F238E27FC236}">
                <a16:creationId xmlns:a16="http://schemas.microsoft.com/office/drawing/2014/main" id="{BF4FF298-1190-67DD-6F1C-014394D09863}"/>
              </a:ext>
            </a:extLst>
          </p:cNvPr>
          <p:cNvPicPr>
            <a:picLocks noChangeAspect="1"/>
          </p:cNvPicPr>
          <p:nvPr/>
        </p:nvPicPr>
        <p:blipFill rotWithShape="1">
          <a:blip r:embed="rId6">
            <a:extLst>
              <a:ext uri="{28A0092B-C50C-407E-A947-70E740481C1C}">
                <a14:useLocalDpi xmlns:a14="http://schemas.microsoft.com/office/drawing/2010/main" val="0"/>
              </a:ext>
            </a:extLst>
          </a:blip>
          <a:srcRect l="36786" r="4064"/>
          <a:stretch/>
        </p:blipFill>
        <p:spPr>
          <a:xfrm>
            <a:off x="9897891" y="1002748"/>
            <a:ext cx="2160000" cy="2160000"/>
          </a:xfrm>
          <a:prstGeom prst="ellipse">
            <a:avLst/>
          </a:prstGeom>
          <a:effectLst>
            <a:outerShdw blurRad="63500" sx="102000" sy="102000" algn="ctr" rotWithShape="0">
              <a:prstClr val="black">
                <a:alpha val="40000"/>
              </a:prstClr>
            </a:outerShdw>
          </a:effectLst>
        </p:spPr>
      </p:pic>
      <p:pic>
        <p:nvPicPr>
          <p:cNvPr id="11" name="Picture Placeholder 20" descr="A picture containing text, person&#10;&#10;Description automatically generated">
            <a:extLst>
              <a:ext uri="{FF2B5EF4-FFF2-40B4-BE49-F238E27FC236}">
                <a16:creationId xmlns:a16="http://schemas.microsoft.com/office/drawing/2014/main" id="{F6EE2251-E540-7E7A-59BF-3B2FA39D5C89}"/>
              </a:ext>
            </a:extLst>
          </p:cNvPr>
          <p:cNvPicPr>
            <a:picLocks noChangeAspect="1"/>
          </p:cNvPicPr>
          <p:nvPr/>
        </p:nvPicPr>
        <p:blipFill rotWithShape="1">
          <a:blip r:embed="rId7">
            <a:extLst>
              <a:ext uri="{28A0092B-C50C-407E-A947-70E740481C1C}">
                <a14:useLocalDpi xmlns:a14="http://schemas.microsoft.com/office/drawing/2010/main" val="0"/>
              </a:ext>
            </a:extLst>
          </a:blip>
          <a:srcRect l="12983" t="905" r="31829" b="984"/>
          <a:stretch/>
        </p:blipFill>
        <p:spPr>
          <a:xfrm>
            <a:off x="1363640" y="3935590"/>
            <a:ext cx="2160000" cy="2160000"/>
          </a:xfrm>
          <a:prstGeom prst="ellipse">
            <a:avLst/>
          </a:prstGeom>
          <a:effectLst>
            <a:outerShdw blurRad="63500" sx="102000" sy="102000" algn="ctr" rotWithShape="0">
              <a:prstClr val="black">
                <a:alpha val="40000"/>
              </a:prstClr>
            </a:outerShdw>
          </a:effectLst>
        </p:spPr>
      </p:pic>
      <p:pic>
        <p:nvPicPr>
          <p:cNvPr id="12" name="Picture Placeholder 24" descr="A group of people in a room&#10;&#10;Description automatically generated with low confidence">
            <a:extLst>
              <a:ext uri="{FF2B5EF4-FFF2-40B4-BE49-F238E27FC236}">
                <a16:creationId xmlns:a16="http://schemas.microsoft.com/office/drawing/2014/main" id="{A13DE486-E081-FD30-717D-958256A19A40}"/>
              </a:ext>
            </a:extLst>
          </p:cNvPr>
          <p:cNvPicPr>
            <a:picLocks noChangeAspect="1"/>
          </p:cNvPicPr>
          <p:nvPr/>
        </p:nvPicPr>
        <p:blipFill rotWithShape="1">
          <a:blip r:embed="rId8">
            <a:extLst>
              <a:ext uri="{28A0092B-C50C-407E-A947-70E740481C1C}">
                <a14:useLocalDpi xmlns:a14="http://schemas.microsoft.com/office/drawing/2010/main" val="0"/>
              </a:ext>
            </a:extLst>
          </a:blip>
          <a:srcRect l="16301" r="22749" b="6449"/>
          <a:stretch/>
        </p:blipFill>
        <p:spPr>
          <a:xfrm>
            <a:off x="3821163" y="3935590"/>
            <a:ext cx="2160000" cy="2160000"/>
          </a:xfrm>
          <a:prstGeom prst="ellipse">
            <a:avLst/>
          </a:prstGeom>
          <a:effectLst>
            <a:outerShdw blurRad="63500" sx="102000" sy="102000" algn="ctr" rotWithShape="0">
              <a:prstClr val="black">
                <a:alpha val="40000"/>
              </a:prstClr>
            </a:outerShdw>
          </a:effectLst>
        </p:spPr>
      </p:pic>
      <p:pic>
        <p:nvPicPr>
          <p:cNvPr id="13" name="Picture Placeholder 28" descr="A low angle view of a building&#10;&#10;Description automatically generated with medium confidence">
            <a:extLst>
              <a:ext uri="{FF2B5EF4-FFF2-40B4-BE49-F238E27FC236}">
                <a16:creationId xmlns:a16="http://schemas.microsoft.com/office/drawing/2014/main" id="{F1542C7B-C9BD-1C7B-9CBA-CD6B300DF9BA}"/>
              </a:ext>
            </a:extLst>
          </p:cNvPr>
          <p:cNvPicPr>
            <a:picLocks noChangeAspect="1"/>
          </p:cNvPicPr>
          <p:nvPr/>
        </p:nvPicPr>
        <p:blipFill rotWithShape="1">
          <a:blip r:embed="rId9">
            <a:extLst>
              <a:ext uri="{28A0092B-C50C-407E-A947-70E740481C1C}">
                <a14:useLocalDpi xmlns:a14="http://schemas.microsoft.com/office/drawing/2010/main" val="0"/>
              </a:ext>
            </a:extLst>
          </a:blip>
          <a:srcRect l="17899" r="25851"/>
          <a:stretch/>
        </p:blipFill>
        <p:spPr>
          <a:xfrm>
            <a:off x="6239874" y="3935590"/>
            <a:ext cx="2160000" cy="2160000"/>
          </a:xfrm>
          <a:prstGeom prst="ellipse">
            <a:avLst/>
          </a:prstGeom>
          <a:effectLst>
            <a:outerShdw blurRad="63500" sx="102000" sy="102000" algn="ctr" rotWithShape="0">
              <a:prstClr val="black">
                <a:alpha val="40000"/>
              </a:prstClr>
            </a:outerShdw>
          </a:effectLst>
        </p:spPr>
      </p:pic>
      <p:pic>
        <p:nvPicPr>
          <p:cNvPr id="14" name="Picture Placeholder 32" descr="A picture containing person, indoor, window&#10;&#10;Description automatically generated">
            <a:extLst>
              <a:ext uri="{FF2B5EF4-FFF2-40B4-BE49-F238E27FC236}">
                <a16:creationId xmlns:a16="http://schemas.microsoft.com/office/drawing/2014/main" id="{7088D7C3-4631-1F35-3DF1-AD7EAF9B15AD}"/>
              </a:ext>
            </a:extLst>
          </p:cNvPr>
          <p:cNvPicPr>
            <a:picLocks noChangeAspect="1"/>
          </p:cNvPicPr>
          <p:nvPr/>
        </p:nvPicPr>
        <p:blipFill>
          <a:blip r:embed="rId10">
            <a:extLst>
              <a:ext uri="{28A0092B-C50C-407E-A947-70E740481C1C}">
                <a14:useLocalDpi xmlns:a14="http://schemas.microsoft.com/office/drawing/2010/main" val="0"/>
              </a:ext>
            </a:extLst>
          </a:blip>
          <a:srcRect l="21900" r="21900"/>
          <a:stretch>
            <a:fillRect/>
          </a:stretch>
        </p:blipFill>
        <p:spPr>
          <a:xfrm>
            <a:off x="8697397" y="3935590"/>
            <a:ext cx="2160000" cy="2160000"/>
          </a:xfrm>
          <a:prstGeom prst="ellipse">
            <a:avLst/>
          </a:prstGeom>
          <a:effectLst>
            <a:outerShdw blurRad="63500" sx="102000" sy="102000" algn="ctr" rotWithShape="0">
              <a:prstClr val="black">
                <a:alpha val="40000"/>
              </a:prstClr>
            </a:outerShdw>
          </a:effectLst>
        </p:spPr>
      </p:pic>
      <p:sp>
        <p:nvSpPr>
          <p:cNvPr id="15" name="TextBox 14">
            <a:extLst>
              <a:ext uri="{FF2B5EF4-FFF2-40B4-BE49-F238E27FC236}">
                <a16:creationId xmlns:a16="http://schemas.microsoft.com/office/drawing/2014/main" id="{416356DD-2EF1-EE7B-D4FD-DD7F87081F44}"/>
              </a:ext>
            </a:extLst>
          </p:cNvPr>
          <p:cNvSpPr txBox="1"/>
          <p:nvPr/>
        </p:nvSpPr>
        <p:spPr>
          <a:xfrm>
            <a:off x="582621" y="3122546"/>
            <a:ext cx="1337226" cy="461665"/>
          </a:xfrm>
          <a:prstGeom prst="rect">
            <a:avLst/>
          </a:prstGeom>
          <a:noFill/>
        </p:spPr>
        <p:txBody>
          <a:bodyPr wrap="none" rtlCol="0">
            <a:spAutoFit/>
          </a:bodyPr>
          <a:lstStyle/>
          <a:p>
            <a:pPr algn="ctr"/>
            <a:r>
              <a:rPr lang="nl-NL" sz="2400" b="1">
                <a:latin typeface="Ink Free" panose="03080402000500000000" pitchFamily="66" charset="0"/>
              </a:rPr>
              <a:t>Logistics</a:t>
            </a:r>
          </a:p>
        </p:txBody>
      </p:sp>
      <p:sp>
        <p:nvSpPr>
          <p:cNvPr id="16" name="TextBox 15">
            <a:extLst>
              <a:ext uri="{FF2B5EF4-FFF2-40B4-BE49-F238E27FC236}">
                <a16:creationId xmlns:a16="http://schemas.microsoft.com/office/drawing/2014/main" id="{FDD93617-5D5F-36AB-1F94-A6CFE4983F2F}"/>
              </a:ext>
            </a:extLst>
          </p:cNvPr>
          <p:cNvSpPr txBox="1"/>
          <p:nvPr/>
        </p:nvSpPr>
        <p:spPr>
          <a:xfrm>
            <a:off x="2519610" y="3122546"/>
            <a:ext cx="2370646" cy="461665"/>
          </a:xfrm>
          <a:prstGeom prst="rect">
            <a:avLst/>
          </a:prstGeom>
          <a:noFill/>
        </p:spPr>
        <p:txBody>
          <a:bodyPr wrap="square" rtlCol="0">
            <a:spAutoFit/>
          </a:bodyPr>
          <a:lstStyle/>
          <a:p>
            <a:pPr algn="ctr"/>
            <a:r>
              <a:rPr lang="nl-NL" sz="2400" b="1">
                <a:latin typeface="Ink Free" panose="03080402000500000000" pitchFamily="66" charset="0"/>
              </a:rPr>
              <a:t>Pharmaceutical</a:t>
            </a:r>
          </a:p>
        </p:txBody>
      </p:sp>
      <p:sp>
        <p:nvSpPr>
          <p:cNvPr id="17" name="TextBox 16">
            <a:extLst>
              <a:ext uri="{FF2B5EF4-FFF2-40B4-BE49-F238E27FC236}">
                <a16:creationId xmlns:a16="http://schemas.microsoft.com/office/drawing/2014/main" id="{3EB994A2-4039-A732-E392-84FFA221D6F8}"/>
              </a:ext>
            </a:extLst>
          </p:cNvPr>
          <p:cNvSpPr txBox="1"/>
          <p:nvPr/>
        </p:nvSpPr>
        <p:spPr>
          <a:xfrm>
            <a:off x="5010750" y="3122545"/>
            <a:ext cx="2370646" cy="461665"/>
          </a:xfrm>
          <a:prstGeom prst="rect">
            <a:avLst/>
          </a:prstGeom>
          <a:noFill/>
        </p:spPr>
        <p:txBody>
          <a:bodyPr wrap="square" rtlCol="0">
            <a:spAutoFit/>
          </a:bodyPr>
          <a:lstStyle/>
          <a:p>
            <a:pPr algn="ctr"/>
            <a:r>
              <a:rPr lang="nl-NL" sz="2400" b="1">
                <a:latin typeface="Ink Free" panose="03080402000500000000" pitchFamily="66" charset="0"/>
              </a:rPr>
              <a:t>Agriculture</a:t>
            </a:r>
          </a:p>
        </p:txBody>
      </p:sp>
      <p:sp>
        <p:nvSpPr>
          <p:cNvPr id="18" name="TextBox 17">
            <a:extLst>
              <a:ext uri="{FF2B5EF4-FFF2-40B4-BE49-F238E27FC236}">
                <a16:creationId xmlns:a16="http://schemas.microsoft.com/office/drawing/2014/main" id="{2E4FEBBF-E90F-D2C7-B896-5E9D92775019}"/>
              </a:ext>
            </a:extLst>
          </p:cNvPr>
          <p:cNvSpPr txBox="1"/>
          <p:nvPr/>
        </p:nvSpPr>
        <p:spPr>
          <a:xfrm>
            <a:off x="7359126" y="3122546"/>
            <a:ext cx="2370646" cy="461665"/>
          </a:xfrm>
          <a:prstGeom prst="rect">
            <a:avLst/>
          </a:prstGeom>
          <a:noFill/>
        </p:spPr>
        <p:txBody>
          <a:bodyPr wrap="square" rtlCol="0">
            <a:spAutoFit/>
          </a:bodyPr>
          <a:lstStyle/>
          <a:p>
            <a:pPr algn="ctr"/>
            <a:r>
              <a:rPr lang="nl-NL" sz="2400" b="1">
                <a:latin typeface="Ink Free" panose="03080402000500000000" pitchFamily="66" charset="0"/>
              </a:rPr>
              <a:t>Manufacturing</a:t>
            </a:r>
          </a:p>
        </p:txBody>
      </p:sp>
      <p:sp>
        <p:nvSpPr>
          <p:cNvPr id="19" name="TextBox 18">
            <a:extLst>
              <a:ext uri="{FF2B5EF4-FFF2-40B4-BE49-F238E27FC236}">
                <a16:creationId xmlns:a16="http://schemas.microsoft.com/office/drawing/2014/main" id="{18D38218-99D3-2858-16FE-20FC2CE8C91D}"/>
              </a:ext>
            </a:extLst>
          </p:cNvPr>
          <p:cNvSpPr txBox="1"/>
          <p:nvPr/>
        </p:nvSpPr>
        <p:spPr>
          <a:xfrm>
            <a:off x="9897891" y="3122545"/>
            <a:ext cx="2370646" cy="461665"/>
          </a:xfrm>
          <a:prstGeom prst="rect">
            <a:avLst/>
          </a:prstGeom>
          <a:noFill/>
        </p:spPr>
        <p:txBody>
          <a:bodyPr wrap="square" rtlCol="0">
            <a:spAutoFit/>
          </a:bodyPr>
          <a:lstStyle/>
          <a:p>
            <a:pPr algn="ctr"/>
            <a:r>
              <a:rPr lang="nl-NL" sz="2400" b="1">
                <a:latin typeface="Ink Free" panose="03080402000500000000" pitchFamily="66" charset="0"/>
              </a:rPr>
              <a:t>Hospitality</a:t>
            </a:r>
          </a:p>
        </p:txBody>
      </p:sp>
      <p:sp>
        <p:nvSpPr>
          <p:cNvPr id="20" name="TextBox 19">
            <a:extLst>
              <a:ext uri="{FF2B5EF4-FFF2-40B4-BE49-F238E27FC236}">
                <a16:creationId xmlns:a16="http://schemas.microsoft.com/office/drawing/2014/main" id="{69710B58-5BD4-1C4B-C8BB-257C1FD285ED}"/>
              </a:ext>
            </a:extLst>
          </p:cNvPr>
          <p:cNvSpPr txBox="1"/>
          <p:nvPr/>
        </p:nvSpPr>
        <p:spPr>
          <a:xfrm>
            <a:off x="1234402" y="6104518"/>
            <a:ext cx="2393605" cy="461665"/>
          </a:xfrm>
          <a:prstGeom prst="rect">
            <a:avLst/>
          </a:prstGeom>
          <a:noFill/>
        </p:spPr>
        <p:txBody>
          <a:bodyPr wrap="none" rtlCol="0">
            <a:spAutoFit/>
          </a:bodyPr>
          <a:lstStyle/>
          <a:p>
            <a:pPr algn="ctr"/>
            <a:r>
              <a:rPr lang="nl-NL" sz="2400" b="1">
                <a:latin typeface="Ink Free" panose="03080402000500000000" pitchFamily="66" charset="0"/>
              </a:rPr>
              <a:t>Technology &amp; IT</a:t>
            </a:r>
          </a:p>
        </p:txBody>
      </p:sp>
      <p:sp>
        <p:nvSpPr>
          <p:cNvPr id="21" name="TextBox 20">
            <a:extLst>
              <a:ext uri="{FF2B5EF4-FFF2-40B4-BE49-F238E27FC236}">
                <a16:creationId xmlns:a16="http://schemas.microsoft.com/office/drawing/2014/main" id="{8E79AD6C-9530-7CB9-D4FF-C2B6E1B213EA}"/>
              </a:ext>
            </a:extLst>
          </p:cNvPr>
          <p:cNvSpPr txBox="1"/>
          <p:nvPr/>
        </p:nvSpPr>
        <p:spPr>
          <a:xfrm>
            <a:off x="3699578" y="6104518"/>
            <a:ext cx="2370646" cy="461665"/>
          </a:xfrm>
          <a:prstGeom prst="rect">
            <a:avLst/>
          </a:prstGeom>
          <a:noFill/>
        </p:spPr>
        <p:txBody>
          <a:bodyPr wrap="square" rtlCol="0">
            <a:spAutoFit/>
          </a:bodyPr>
          <a:lstStyle/>
          <a:p>
            <a:pPr algn="ctr"/>
            <a:r>
              <a:rPr lang="nl-NL" sz="2400" b="1">
                <a:latin typeface="Ink Free" panose="03080402000500000000" pitchFamily="66" charset="0"/>
              </a:rPr>
              <a:t>Education</a:t>
            </a:r>
          </a:p>
        </p:txBody>
      </p:sp>
      <p:sp>
        <p:nvSpPr>
          <p:cNvPr id="22" name="TextBox 21">
            <a:extLst>
              <a:ext uri="{FF2B5EF4-FFF2-40B4-BE49-F238E27FC236}">
                <a16:creationId xmlns:a16="http://schemas.microsoft.com/office/drawing/2014/main" id="{CFB3D655-F5BA-A507-08FE-CDF4A853D543}"/>
              </a:ext>
            </a:extLst>
          </p:cNvPr>
          <p:cNvSpPr txBox="1"/>
          <p:nvPr/>
        </p:nvSpPr>
        <p:spPr>
          <a:xfrm>
            <a:off x="6190718" y="6104517"/>
            <a:ext cx="2370646" cy="461665"/>
          </a:xfrm>
          <a:prstGeom prst="rect">
            <a:avLst/>
          </a:prstGeom>
          <a:noFill/>
        </p:spPr>
        <p:txBody>
          <a:bodyPr wrap="square" rtlCol="0">
            <a:spAutoFit/>
          </a:bodyPr>
          <a:lstStyle/>
          <a:p>
            <a:pPr algn="ctr"/>
            <a:r>
              <a:rPr lang="nl-NL" sz="2400" b="1">
                <a:latin typeface="Ink Free" panose="03080402000500000000" pitchFamily="66" charset="0"/>
              </a:rPr>
              <a:t>Finance</a:t>
            </a:r>
          </a:p>
        </p:txBody>
      </p:sp>
      <p:sp>
        <p:nvSpPr>
          <p:cNvPr id="23" name="TextBox 22">
            <a:extLst>
              <a:ext uri="{FF2B5EF4-FFF2-40B4-BE49-F238E27FC236}">
                <a16:creationId xmlns:a16="http://schemas.microsoft.com/office/drawing/2014/main" id="{508BB449-4A0F-575C-852E-1F0881B4BD40}"/>
              </a:ext>
            </a:extLst>
          </p:cNvPr>
          <p:cNvSpPr txBox="1"/>
          <p:nvPr/>
        </p:nvSpPr>
        <p:spPr>
          <a:xfrm>
            <a:off x="8539094" y="6104518"/>
            <a:ext cx="2370646" cy="461665"/>
          </a:xfrm>
          <a:prstGeom prst="rect">
            <a:avLst/>
          </a:prstGeom>
          <a:noFill/>
        </p:spPr>
        <p:txBody>
          <a:bodyPr wrap="square" rtlCol="0">
            <a:spAutoFit/>
          </a:bodyPr>
          <a:lstStyle/>
          <a:p>
            <a:pPr algn="ctr"/>
            <a:r>
              <a:rPr lang="nl-NL" sz="2400" b="1">
                <a:latin typeface="Ink Free" panose="03080402000500000000" pitchFamily="66" charset="0"/>
              </a:rPr>
              <a:t>Healthcare</a:t>
            </a:r>
          </a:p>
        </p:txBody>
      </p:sp>
      <p:sp>
        <p:nvSpPr>
          <p:cNvPr id="2" name="Slide Number Placeholder 1">
            <a:extLst>
              <a:ext uri="{FF2B5EF4-FFF2-40B4-BE49-F238E27FC236}">
                <a16:creationId xmlns:a16="http://schemas.microsoft.com/office/drawing/2014/main" id="{4D724FA1-890D-1206-D7C9-979D6FC15FF2}"/>
              </a:ext>
            </a:extLst>
          </p:cNvPr>
          <p:cNvSpPr>
            <a:spLocks noGrp="1"/>
          </p:cNvSpPr>
          <p:nvPr>
            <p:ph type="sldNum" sz="quarter" idx="12"/>
          </p:nvPr>
        </p:nvSpPr>
        <p:spPr/>
        <p:txBody>
          <a:bodyPr/>
          <a:lstStyle/>
          <a:p>
            <a:fld id="{0674757E-06C4-4259-8159-64C08476399D}" type="slidenum">
              <a:rPr lang="nl-NL" smtClean="0"/>
              <a:pPr/>
              <a:t>7</a:t>
            </a:fld>
            <a:endParaRPr lang="nl-NL"/>
          </a:p>
        </p:txBody>
      </p:sp>
    </p:spTree>
    <p:extLst>
      <p:ext uri="{BB962C8B-B14F-4D97-AF65-F5344CB8AC3E}">
        <p14:creationId xmlns:p14="http://schemas.microsoft.com/office/powerpoint/2010/main" val="108745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3DE1C8-E3D9-6C87-AC21-15F3B0D858A7}"/>
              </a:ext>
            </a:extLst>
          </p:cNvPr>
          <p:cNvSpPr>
            <a:spLocks noGrp="1"/>
          </p:cNvSpPr>
          <p:nvPr>
            <p:ph type="title"/>
          </p:nvPr>
        </p:nvSpPr>
        <p:spPr/>
        <p:txBody>
          <a:bodyPr/>
          <a:lstStyle/>
          <a:p>
            <a:r>
              <a:rPr lang="nl-NL"/>
              <a:t>PURSUEING YOUR CAREER</a:t>
            </a:r>
          </a:p>
        </p:txBody>
      </p:sp>
      <p:sp>
        <p:nvSpPr>
          <p:cNvPr id="7" name="Text Placeholder 6">
            <a:extLst>
              <a:ext uri="{FF2B5EF4-FFF2-40B4-BE49-F238E27FC236}">
                <a16:creationId xmlns:a16="http://schemas.microsoft.com/office/drawing/2014/main" id="{6C5F6990-4AB1-3899-BD8F-FE74A6A4E3CC}"/>
              </a:ext>
            </a:extLst>
          </p:cNvPr>
          <p:cNvSpPr>
            <a:spLocks noGrp="1"/>
          </p:cNvSpPr>
          <p:nvPr>
            <p:ph type="body" sz="quarter" idx="11"/>
          </p:nvPr>
        </p:nvSpPr>
        <p:spPr/>
        <p:txBody>
          <a:bodyPr/>
          <a:lstStyle/>
          <a:p>
            <a:r>
              <a:rPr lang="en-US" sz="2000" b="0"/>
              <a:t>If you are not yet sure about the Industry of your interest (and that is very common) you may want engage in a workplace visit and get to know some of the job profiles in such industry.</a:t>
            </a:r>
          </a:p>
          <a:p>
            <a:r>
              <a:rPr lang="en-US" sz="2000" b="0"/>
              <a:t>This will help you to assess what would be thing that you want to go for and even then … it is not set in stone! Because seeing the opportunities and being open to change, you might not want to pursue a career in one single direction. One thing might lead to the next.</a:t>
            </a:r>
          </a:p>
          <a:p>
            <a:r>
              <a:rPr lang="en-US" sz="2000" b="0"/>
              <a:t>Keep in mind that the job market is volatile and ever changing. Check the World Economic Forum web pages:</a:t>
            </a:r>
          </a:p>
          <a:p>
            <a:pPr marL="342900" indent="-342900">
              <a:buFont typeface="Ink Free" panose="03080402000500000000" pitchFamily="66" charset="0"/>
              <a:buChar char="•"/>
            </a:pPr>
            <a:r>
              <a:rPr lang="en-US" sz="2000" b="0">
                <a:hlinkClick r:id="rId2"/>
              </a:rPr>
              <a:t>https://www.weforum.org/reports/</a:t>
            </a:r>
            <a:r>
              <a:rPr lang="en-US" sz="2000" b="0"/>
              <a:t> </a:t>
            </a:r>
          </a:p>
          <a:p>
            <a:pPr marL="342900" indent="-342900">
              <a:buFont typeface="Ink Free" panose="03080402000500000000" pitchFamily="66" charset="0"/>
              <a:buChar char="•"/>
            </a:pPr>
            <a:r>
              <a:rPr lang="en-US" sz="2000" b="0">
                <a:hlinkClick r:id="rId3"/>
              </a:rPr>
              <a:t>https://www.weforum.org/reports/the-future-of-jobs-report-2023/infographics</a:t>
            </a:r>
            <a:r>
              <a:rPr lang="en-US" sz="2000" b="0"/>
              <a:t> </a:t>
            </a:r>
          </a:p>
          <a:p>
            <a:endParaRPr lang="en-US" sz="2000" b="0"/>
          </a:p>
          <a:p>
            <a:endParaRPr lang="nl-NL" sz="2000" b="0"/>
          </a:p>
        </p:txBody>
      </p:sp>
      <p:sp>
        <p:nvSpPr>
          <p:cNvPr id="2" name="Slide Number Placeholder 1">
            <a:extLst>
              <a:ext uri="{FF2B5EF4-FFF2-40B4-BE49-F238E27FC236}">
                <a16:creationId xmlns:a16="http://schemas.microsoft.com/office/drawing/2014/main" id="{31B832F9-BE10-E7B2-C4B8-C5C7B0754764}"/>
              </a:ext>
            </a:extLst>
          </p:cNvPr>
          <p:cNvSpPr>
            <a:spLocks noGrp="1"/>
          </p:cNvSpPr>
          <p:nvPr>
            <p:ph type="sldNum" sz="quarter" idx="12"/>
          </p:nvPr>
        </p:nvSpPr>
        <p:spPr/>
        <p:txBody>
          <a:bodyPr/>
          <a:lstStyle/>
          <a:p>
            <a:fld id="{0674757E-06C4-4259-8159-64C08476399D}" type="slidenum">
              <a:rPr lang="nl-NL" smtClean="0"/>
              <a:pPr/>
              <a:t>8</a:t>
            </a:fld>
            <a:endParaRPr lang="nl-NL"/>
          </a:p>
        </p:txBody>
      </p:sp>
    </p:spTree>
    <p:extLst>
      <p:ext uri="{BB962C8B-B14F-4D97-AF65-F5344CB8AC3E}">
        <p14:creationId xmlns:p14="http://schemas.microsoft.com/office/powerpoint/2010/main" val="2587913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5D6DB4-E0A3-A7A1-F7AA-C37B2CB8DE25}"/>
              </a:ext>
            </a:extLst>
          </p:cNvPr>
          <p:cNvSpPr>
            <a:spLocks noGrp="1"/>
          </p:cNvSpPr>
          <p:nvPr>
            <p:ph type="title"/>
          </p:nvPr>
        </p:nvSpPr>
        <p:spPr>
          <a:xfrm>
            <a:off x="163534" y="62654"/>
            <a:ext cx="8851157" cy="706438"/>
          </a:xfrm>
        </p:spPr>
        <p:txBody>
          <a:bodyPr>
            <a:normAutofit/>
          </a:bodyPr>
          <a:lstStyle/>
          <a:p>
            <a:r>
              <a:rPr lang="nl-NL"/>
              <a:t>PERSONALITY TRAITS &amp; TRANSFERABLE SKILLS</a:t>
            </a:r>
          </a:p>
        </p:txBody>
      </p:sp>
      <p:grpSp>
        <p:nvGrpSpPr>
          <p:cNvPr id="6" name="Group 5">
            <a:extLst>
              <a:ext uri="{FF2B5EF4-FFF2-40B4-BE49-F238E27FC236}">
                <a16:creationId xmlns:a16="http://schemas.microsoft.com/office/drawing/2014/main" id="{04025C3C-456D-2111-D8B8-0139C2364A24}"/>
              </a:ext>
            </a:extLst>
          </p:cNvPr>
          <p:cNvGrpSpPr/>
          <p:nvPr/>
        </p:nvGrpSpPr>
        <p:grpSpPr>
          <a:xfrm>
            <a:off x="1141105" y="1653307"/>
            <a:ext cx="4248313" cy="4523142"/>
            <a:chOff x="1159578" y="1874981"/>
            <a:chExt cx="4248313" cy="4523142"/>
          </a:xfrm>
        </p:grpSpPr>
        <p:sp>
          <p:nvSpPr>
            <p:cNvPr id="7" name="Rectangle: Rounded Corners 6">
              <a:extLst>
                <a:ext uri="{FF2B5EF4-FFF2-40B4-BE49-F238E27FC236}">
                  <a16:creationId xmlns:a16="http://schemas.microsoft.com/office/drawing/2014/main" id="{7AFD37C5-630A-9BC0-0059-3E703F7E6B99}"/>
                </a:ext>
              </a:extLst>
            </p:cNvPr>
            <p:cNvSpPr/>
            <p:nvPr/>
          </p:nvSpPr>
          <p:spPr>
            <a:xfrm>
              <a:off x="1159578" y="1874981"/>
              <a:ext cx="4248313" cy="4523142"/>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ext Placeholder 7">
              <a:extLst>
                <a:ext uri="{FF2B5EF4-FFF2-40B4-BE49-F238E27FC236}">
                  <a16:creationId xmlns:a16="http://schemas.microsoft.com/office/drawing/2014/main" id="{E41CA443-8FF1-FE3E-D4D3-59C1703FC66C}"/>
                </a:ext>
              </a:extLst>
            </p:cNvPr>
            <p:cNvSpPr txBox="1">
              <a:spLocks/>
            </p:cNvSpPr>
            <p:nvPr/>
          </p:nvSpPr>
          <p:spPr>
            <a:xfrm>
              <a:off x="1159578" y="3783333"/>
              <a:ext cx="4248313" cy="7064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a:latin typeface="Ink Free" panose="03080402000500000000" pitchFamily="66" charset="0"/>
                </a:rPr>
                <a:t>Personality traits </a:t>
              </a:r>
              <a:r>
                <a:rPr lang="en-US" sz="3200">
                  <a:latin typeface="Ink Free" panose="03080402000500000000" pitchFamily="66" charset="0"/>
                </a:rPr>
                <a:t>relate to your character as a person: </a:t>
              </a:r>
              <a:r>
                <a:rPr lang="en-US" sz="3200" b="1">
                  <a:solidFill>
                    <a:srgbClr val="00AEEF"/>
                  </a:solidFill>
                  <a:latin typeface="Ink Free" panose="03080402000500000000" pitchFamily="66" charset="0"/>
                </a:rPr>
                <a:t>how you are, and the attitude related to it.</a:t>
              </a:r>
              <a:endParaRPr lang="nl-NL" sz="3200" b="1">
                <a:solidFill>
                  <a:srgbClr val="00AEEF"/>
                </a:solidFill>
                <a:latin typeface="Ink Free" panose="03080402000500000000" pitchFamily="66" charset="0"/>
              </a:endParaRPr>
            </a:p>
          </p:txBody>
        </p:sp>
      </p:grpSp>
      <p:grpSp>
        <p:nvGrpSpPr>
          <p:cNvPr id="9" name="Group 8">
            <a:extLst>
              <a:ext uri="{FF2B5EF4-FFF2-40B4-BE49-F238E27FC236}">
                <a16:creationId xmlns:a16="http://schemas.microsoft.com/office/drawing/2014/main" id="{FF7056FE-A34A-E73A-ED2F-E498E95301E8}"/>
              </a:ext>
            </a:extLst>
          </p:cNvPr>
          <p:cNvGrpSpPr/>
          <p:nvPr/>
        </p:nvGrpSpPr>
        <p:grpSpPr>
          <a:xfrm>
            <a:off x="6417411" y="1653307"/>
            <a:ext cx="4306007" cy="4523142"/>
            <a:chOff x="6435884" y="1874981"/>
            <a:chExt cx="4306007" cy="4523142"/>
          </a:xfrm>
        </p:grpSpPr>
        <p:sp>
          <p:nvSpPr>
            <p:cNvPr id="10" name="Rectangle: Rounded Corners 9">
              <a:extLst>
                <a:ext uri="{FF2B5EF4-FFF2-40B4-BE49-F238E27FC236}">
                  <a16:creationId xmlns:a16="http://schemas.microsoft.com/office/drawing/2014/main" id="{759C850D-A349-6CBE-AB60-4DE77E154C1B}"/>
                </a:ext>
              </a:extLst>
            </p:cNvPr>
            <p:cNvSpPr/>
            <p:nvPr/>
          </p:nvSpPr>
          <p:spPr>
            <a:xfrm>
              <a:off x="6493578" y="1874981"/>
              <a:ext cx="4248313" cy="4523142"/>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ext Placeholder 7">
              <a:extLst>
                <a:ext uri="{FF2B5EF4-FFF2-40B4-BE49-F238E27FC236}">
                  <a16:creationId xmlns:a16="http://schemas.microsoft.com/office/drawing/2014/main" id="{49A9AE03-9555-1E13-A2EB-874036A81E01}"/>
                </a:ext>
              </a:extLst>
            </p:cNvPr>
            <p:cNvSpPr txBox="1">
              <a:spLocks/>
            </p:cNvSpPr>
            <p:nvPr/>
          </p:nvSpPr>
          <p:spPr>
            <a:xfrm>
              <a:off x="6435884" y="3783333"/>
              <a:ext cx="4248312" cy="7064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a:latin typeface="Ink Free" panose="03080402000500000000" pitchFamily="66" charset="0"/>
                </a:rPr>
                <a:t>Transferable skills </a:t>
              </a:r>
              <a:r>
                <a:rPr lang="en-US" sz="3200" b="1">
                  <a:solidFill>
                    <a:srgbClr val="00AEEF"/>
                  </a:solidFill>
                  <a:latin typeface="Ink Free" panose="03080402000500000000" pitchFamily="66" charset="0"/>
                </a:rPr>
                <a:t>are learnt abilities that can help you at work or in life</a:t>
              </a:r>
              <a:r>
                <a:rPr lang="en-US" sz="3200">
                  <a:latin typeface="Ink Free" panose="03080402000500000000" pitchFamily="66" charset="0"/>
                </a:rPr>
                <a:t>, so in a variety of situations.</a:t>
              </a:r>
              <a:endParaRPr lang="nl-NL" sz="3200" b="1">
                <a:solidFill>
                  <a:srgbClr val="00AEEF"/>
                </a:solidFill>
                <a:latin typeface="Ink Free" panose="03080402000500000000" pitchFamily="66" charset="0"/>
              </a:endParaRPr>
            </a:p>
          </p:txBody>
        </p:sp>
      </p:grpSp>
      <p:pic>
        <p:nvPicPr>
          <p:cNvPr id="12" name="Picture 2">
            <a:extLst>
              <a:ext uri="{FF2B5EF4-FFF2-40B4-BE49-F238E27FC236}">
                <a16:creationId xmlns:a16="http://schemas.microsoft.com/office/drawing/2014/main" id="{A48FDEEB-3603-434A-CD15-78618FFF7F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9222" y="1716807"/>
            <a:ext cx="1372076" cy="17018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a:extLst>
              <a:ext uri="{FF2B5EF4-FFF2-40B4-BE49-F238E27FC236}">
                <a16:creationId xmlns:a16="http://schemas.microsoft.com/office/drawing/2014/main" id="{D0D06462-4778-9C4C-D0B8-126F5AF180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1015" y="1741733"/>
            <a:ext cx="1654014" cy="164941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87BE2696-1D55-5CC0-E154-B9F8C10AD5C1}"/>
              </a:ext>
            </a:extLst>
          </p:cNvPr>
          <p:cNvSpPr>
            <a:spLocks noGrp="1"/>
          </p:cNvSpPr>
          <p:nvPr>
            <p:ph type="sldNum" sz="quarter" idx="12"/>
          </p:nvPr>
        </p:nvSpPr>
        <p:spPr/>
        <p:txBody>
          <a:bodyPr/>
          <a:lstStyle/>
          <a:p>
            <a:fld id="{0674757E-06C4-4259-8159-64C08476399D}" type="slidenum">
              <a:rPr lang="nl-NL" smtClean="0"/>
              <a:pPr/>
              <a:t>9</a:t>
            </a:fld>
            <a:endParaRPr lang="nl-NL"/>
          </a:p>
        </p:txBody>
      </p:sp>
    </p:spTree>
    <p:extLst>
      <p:ext uri="{BB962C8B-B14F-4D97-AF65-F5344CB8AC3E}">
        <p14:creationId xmlns:p14="http://schemas.microsoft.com/office/powerpoint/2010/main" val="2789139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GwwAAAAAAAAAAAAAIAD///////////////8AAAD///////////////8DAAAAAwD///////8DAAAAAwD///////8DAAAAAwD///////8DAAAAAwD///////////////////////////////////////////////////////////////////////////////////////////////////////////////////////////////////////////////////////////////////////////////////////////////////////////////////////////////////////////////////////////////////////////////////////////////////////////////////////////////////////////////////////////////////////////////////////////////////////////////////////////////////////////////////////////////8BACAA////////////////AAAO////////AwAAAAIA////////////////////////////////////////////////////////////////////////////////////////////////////////////////////////////////////////////////////////////////////////////////////////////////////////////////////////////////////////////////////////////////////////////////////////////////////////////////////////////////////////////////////////////////////////////////////////////////////////////////////////////////////////////////////////////////////////////////////////////////////////////////////////AgACAP///////wQAAAACABAAC1YLRKfLzV9JhCPQ4btPgKAFAAAAAAADAAAAAwADAAAAAQADAAAAAwD///////8DAAQA////////BAAAAAMAEAALwRbHnaCMYUODxiKdDCrL2wUAAAABAAMAAAAAAAMAAAACAAMAAAAAAAMAAAAC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YLRKfLzV9JhCPQ4btPgKADRGF0YQAbAAAABExpbmtlZFNoYXBlRGF0YQAFAAAAAAACTmFtZQAZAAAATGlua2VkU2hhcGVzRGF0YVByb3BlcnR5ABBWZXJzaW9uAAAAAAAJTGFzdFdyaXRlAIajREOIAQAAAAEA/////8YAxgAAAAVfaWQAEAAAAATBFsedoIxhQ4PGIp0MKsvbA0RhdGEAUwAAAAhQcmVzZW50YXRpb25TY2FubmVkRm9yTGlua2VkU2hhcGVzAAECTnVtYmVyRm9ybWF0U2VwYXJhdG9yTW9kZQAKAAAAQXV0b21hdGljAAACTmFtZQAkAAAATGlua2VkU2hhcGVQcmVzZW50YXRpb25TZXR0aW5nc0RhdGEAEFZlcnNpb24AAAAAAAlMYXN0V3JpdGUALaREQ4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203525520850825"/>
  <p:tag name="EMPOWERCHARTSPROPERTIES_B_LENGTH" val="24576"/>
</p:tagLst>
</file>

<file path=ppt/theme/theme1.xml><?xml version="1.0" encoding="utf-8"?>
<a:theme xmlns:a="http://schemas.openxmlformats.org/drawingml/2006/main" name="SPLASH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ACTIVITY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NOTES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COURSE REVIEW">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HANK YOU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RODUCTION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ITION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PAGES NO IM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NTENT PAGES IMAGE RIGH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NTENT PAGES IMAGE TOP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ONTENT PAGES IMAGE TOP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NTENT PAGES IMAGE BOT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CONTENT PAGES IMAGE BOT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5842810-97e5-4717-a452-62dd49d9c5d3" xsi:nil="true"/>
    <lcf76f155ced4ddcb4097134ff3c332f xmlns="29437e33-b608-46fc-8724-28b79a98715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F186DEBA6DB34A9F2D8BB285EF1F17" ma:contentTypeVersion="18" ma:contentTypeDescription="Create a new document." ma:contentTypeScope="" ma:versionID="a191eb36648810286f8e58e00378605f">
  <xsd:schema xmlns:xsd="http://www.w3.org/2001/XMLSchema" xmlns:xs="http://www.w3.org/2001/XMLSchema" xmlns:p="http://schemas.microsoft.com/office/2006/metadata/properties" xmlns:ns2="29437e33-b608-46fc-8724-28b79a987159" xmlns:ns3="45842810-97e5-4717-a452-62dd49d9c5d3" targetNamespace="http://schemas.microsoft.com/office/2006/metadata/properties" ma:root="true" ma:fieldsID="f4106d97b97d9ae02a38cf8326d160db" ns2:_="" ns3:_="">
    <xsd:import namespace="29437e33-b608-46fc-8724-28b79a987159"/>
    <xsd:import namespace="45842810-97e5-4717-a452-62dd49d9c5d3"/>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437e33-b608-46fc-8724-28b79a9871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b9e2a73-f419-4c44-99f5-cd310bbfdd7d"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5842810-97e5-4717-a452-62dd49d9c5d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8598fc78-0e75-408d-a388-f3a47a043782}" ma:internalName="TaxCatchAll" ma:showField="CatchAllData" ma:web="45842810-97e5-4717-a452-62dd49d9c5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956FD1-BE71-4EC4-BDFB-0F8CBBAF1D46}">
  <ds:schemaRefs>
    <ds:schemaRef ds:uri="http://schemas.microsoft.com/sharepoint/v3/contenttype/forms"/>
  </ds:schemaRefs>
</ds:datastoreItem>
</file>

<file path=customXml/itemProps2.xml><?xml version="1.0" encoding="utf-8"?>
<ds:datastoreItem xmlns:ds="http://schemas.openxmlformats.org/officeDocument/2006/customXml" ds:itemID="{ED5E054D-3EEF-4C34-828F-642C40BB0236}">
  <ds:schemaRefs>
    <ds:schemaRef ds:uri="http://schemas.microsoft.com/office/2006/documentManagement/types"/>
    <ds:schemaRef ds:uri="16d19505-5873-4cf7-b98f-ab573d793237"/>
    <ds:schemaRef ds:uri="http://schemas.microsoft.com/office/2006/metadata/properties"/>
    <ds:schemaRef ds:uri="http://www.w3.org/XML/1998/namespace"/>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 ds:uri="7ff01d4a-d9bd-4f1d-8d9e-0fa88185bc99"/>
  </ds:schemaRefs>
</ds:datastoreItem>
</file>

<file path=customXml/itemProps3.xml><?xml version="1.0" encoding="utf-8"?>
<ds:datastoreItem xmlns:ds="http://schemas.openxmlformats.org/officeDocument/2006/customXml" ds:itemID="{515860E1-8F6E-4371-8DDC-A6625269499B}"/>
</file>

<file path=docProps/app.xml><?xml version="1.0" encoding="utf-8"?>
<Properties xmlns="http://schemas.openxmlformats.org/officeDocument/2006/extended-properties" xmlns:vt="http://schemas.openxmlformats.org/officeDocument/2006/docPropsVTypes">
  <TotalTime>12</TotalTime>
  <Words>1628</Words>
  <Application>Microsoft Office PowerPoint</Application>
  <PresentationFormat>Widescreen</PresentationFormat>
  <Paragraphs>209</Paragraphs>
  <Slides>28</Slides>
  <Notes>0</Notes>
  <HiddenSlides>0</HiddenSlides>
  <MMClips>0</MMClips>
  <ScaleCrop>false</ScaleCrop>
  <HeadingPairs>
    <vt:vector size="6" baseType="variant">
      <vt:variant>
        <vt:lpstr>Fonts Used</vt:lpstr>
      </vt:variant>
      <vt:variant>
        <vt:i4>4</vt:i4>
      </vt:variant>
      <vt:variant>
        <vt:lpstr>Theme</vt:lpstr>
      </vt:variant>
      <vt:variant>
        <vt:i4>13</vt:i4>
      </vt:variant>
      <vt:variant>
        <vt:lpstr>Slide Titles</vt:lpstr>
      </vt:variant>
      <vt:variant>
        <vt:i4>28</vt:i4>
      </vt:variant>
    </vt:vector>
  </HeadingPairs>
  <TitlesOfParts>
    <vt:vector size="45" baseType="lpstr">
      <vt:lpstr>Arial</vt:lpstr>
      <vt:lpstr>Calibri</vt:lpstr>
      <vt:lpstr>Delivery</vt:lpstr>
      <vt:lpstr>Ink Free</vt:lpstr>
      <vt:lpstr>SPLASHPAGES</vt:lpstr>
      <vt:lpstr>INTRODUCTION PAGES</vt:lpstr>
      <vt:lpstr>TRANSITION PAGES</vt:lpstr>
      <vt:lpstr>CONTENT PAGES NO IMAGE</vt:lpstr>
      <vt:lpstr>CONTENT PAGES IMAGE RIGHT</vt:lpstr>
      <vt:lpstr>CONTENT PAGES IMAGE TOP 1</vt:lpstr>
      <vt:lpstr>CONTENT PAGES IMAGE TOP 2</vt:lpstr>
      <vt:lpstr>CONTENT PAGES IMAGE BOTTOM 1</vt:lpstr>
      <vt:lpstr>CONTENT PAGES IMAGE BOTTOM 2</vt:lpstr>
      <vt:lpstr>ACTIVITY PAGES</vt:lpstr>
      <vt:lpstr>NOTES PAGE</vt:lpstr>
      <vt:lpstr>COURSE REVIEW</vt:lpstr>
      <vt:lpstr>THANK YOU PAGES</vt:lpstr>
      <vt:lpstr>CAREER TALKS</vt:lpstr>
      <vt:lpstr>PowerPoint Presentation</vt:lpstr>
      <vt:lpstr>MY FUTURE CAREER SHOULD BRING ME ...</vt:lpstr>
      <vt:lpstr>MY FUTURE CAREER SHOULD BRING ME ...</vt:lpstr>
      <vt:lpstr>CAREER DEVELOPMENT – TOP TIPS</vt:lpstr>
      <vt:lpstr>CAREER DEVELOPMENT – TOP TIPS</vt:lpstr>
      <vt:lpstr>FOR INSPIRATION – INDUSTRIES TO PURSUE A CAREER</vt:lpstr>
      <vt:lpstr>PURSUEING YOUR CAREER</vt:lpstr>
      <vt:lpstr>PERSONALITY TRAITS &amp; TRANSFERABLE SKILLS</vt:lpstr>
      <vt:lpstr>PERSONALITY TRAITS &amp; TRANSFERABLE SKILLS</vt:lpstr>
      <vt:lpstr>PERSONALITY TRAITS</vt:lpstr>
      <vt:lpstr>POSITIVE PERSONALITY TRAITS</vt:lpstr>
      <vt:lpstr>NEGATIVE PERSONALITY TRAITS</vt:lpstr>
      <vt:lpstr>TRANSFERABLE SKILLS</vt:lpstr>
      <vt:lpstr>TRANSFERABLE SKILLS</vt:lpstr>
      <vt:lpstr>WHY IS THIS IMPORTANT?</vt:lpstr>
      <vt:lpstr>LOGISTICS AS AN EXAMPLE – BUZZ WORDS</vt:lpstr>
      <vt:lpstr>A CAREER IN LOGISTICS</vt:lpstr>
      <vt:lpstr>JOB TITLE – HEAVY GOODS VEHICLE DRIVER</vt:lpstr>
      <vt:lpstr>JOB TITLE – HEAVY GOODS VEHICLE DRIVER</vt:lpstr>
      <vt:lpstr>JOB TITLE – TRANSPORT PLANNER</vt:lpstr>
      <vt:lpstr>JOB TITLE – TRANSPORT PLANNER</vt:lpstr>
      <vt:lpstr>JOB TITLE – WAREHOUSE SUPERVISOR</vt:lpstr>
      <vt:lpstr>JOB TITLE – WAREHOUSE SUPERVISOR</vt:lpstr>
      <vt:lpstr>YOUR ADDITIONAL NOTES</vt:lpstr>
      <vt:lpstr>YOUR ADDITIONAL NOTES</vt:lpstr>
      <vt:lpstr>ONE WORD ... ONE SENTENCE</vt:lpstr>
      <vt:lpstr>PowerPoint Presentation</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s Gelissen (DHL SSC Maastricht)</dc:creator>
  <cp:lastModifiedBy>Bente De Rijke (DHL SSC Maastricht)</cp:lastModifiedBy>
  <cp:revision>1</cp:revision>
  <dcterms:created xsi:type="dcterms:W3CDTF">2022-01-06T11:01:34Z</dcterms:created>
  <dcterms:modified xsi:type="dcterms:W3CDTF">2023-07-14T16: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F186DEBA6DB34A9F2D8BB285EF1F17</vt:lpwstr>
  </property>
  <property fmtid="{D5CDD505-2E9C-101B-9397-08002B2CF9AE}" pid="3" name="MSIP_Label_736915f3-2f02-4945-8997-f2963298db46_Enabled">
    <vt:lpwstr>true</vt:lpwstr>
  </property>
  <property fmtid="{D5CDD505-2E9C-101B-9397-08002B2CF9AE}" pid="4" name="MSIP_Label_736915f3-2f02-4945-8997-f2963298db46_SetDate">
    <vt:lpwstr>2023-03-01T08:37:06Z</vt:lpwstr>
  </property>
  <property fmtid="{D5CDD505-2E9C-101B-9397-08002B2CF9AE}" pid="5" name="MSIP_Label_736915f3-2f02-4945-8997-f2963298db46_Method">
    <vt:lpwstr>Standard</vt:lpwstr>
  </property>
  <property fmtid="{D5CDD505-2E9C-101B-9397-08002B2CF9AE}" pid="6" name="MSIP_Label_736915f3-2f02-4945-8997-f2963298db46_Name">
    <vt:lpwstr>Internal</vt:lpwstr>
  </property>
  <property fmtid="{D5CDD505-2E9C-101B-9397-08002B2CF9AE}" pid="7" name="MSIP_Label_736915f3-2f02-4945-8997-f2963298db46_SiteId">
    <vt:lpwstr>cd99fef8-1cd3-4a2a-9bdf-15531181d65e</vt:lpwstr>
  </property>
  <property fmtid="{D5CDD505-2E9C-101B-9397-08002B2CF9AE}" pid="8" name="MSIP_Label_736915f3-2f02-4945-8997-f2963298db46_ActionId">
    <vt:lpwstr>095f8399-b45e-4896-911e-46cb41b7092b</vt:lpwstr>
  </property>
  <property fmtid="{D5CDD505-2E9C-101B-9397-08002B2CF9AE}" pid="9" name="MSIP_Label_736915f3-2f02-4945-8997-f2963298db46_ContentBits">
    <vt:lpwstr>1</vt:lpwstr>
  </property>
  <property fmtid="{D5CDD505-2E9C-101B-9397-08002B2CF9AE}" pid="10" name="MediaServiceImageTags">
    <vt:lpwstr/>
  </property>
</Properties>
</file>